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3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4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5.xml" ContentType="application/vnd.openxmlformats-officedocument.theme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722" r:id="rId3"/>
    <p:sldMasterId id="2147483758" r:id="rId4"/>
    <p:sldMasterId id="2147483808" r:id="rId5"/>
  </p:sldMasterIdLst>
  <p:notesMasterIdLst>
    <p:notesMasterId r:id="rId32"/>
  </p:notesMasterIdLst>
  <p:sldIdLst>
    <p:sldId id="292" r:id="rId6"/>
    <p:sldId id="308" r:id="rId7"/>
    <p:sldId id="2147480212" r:id="rId8"/>
    <p:sldId id="2147480211" r:id="rId9"/>
    <p:sldId id="2147480220" r:id="rId10"/>
    <p:sldId id="2147480198" r:id="rId11"/>
    <p:sldId id="2147480199" r:id="rId12"/>
    <p:sldId id="2147480197" r:id="rId13"/>
    <p:sldId id="2147480191" r:id="rId14"/>
    <p:sldId id="2147480214" r:id="rId15"/>
    <p:sldId id="2147480205" r:id="rId16"/>
    <p:sldId id="2147480222" r:id="rId17"/>
    <p:sldId id="2147480213" r:id="rId18"/>
    <p:sldId id="2147480226" r:id="rId19"/>
    <p:sldId id="2147480225" r:id="rId20"/>
    <p:sldId id="2147480187" r:id="rId21"/>
    <p:sldId id="2147480221" r:id="rId22"/>
    <p:sldId id="2147480209" r:id="rId23"/>
    <p:sldId id="2147480223" r:id="rId24"/>
    <p:sldId id="2147480224" r:id="rId25"/>
    <p:sldId id="2147480203" r:id="rId26"/>
    <p:sldId id="2147480215" r:id="rId27"/>
    <p:sldId id="2147480216" r:id="rId28"/>
    <p:sldId id="2147480218" r:id="rId29"/>
    <p:sldId id="262" r:id="rId30"/>
    <p:sldId id="293" r:id="rId31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7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55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heme" Target="theme/theme1.xml"/><Relationship Id="rId8" Type="http://schemas.openxmlformats.org/officeDocument/2006/relationships/slide" Target="slides/slide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111D72-DAD2-4B7E-AB76-7EF20187CE62}" type="datetimeFigureOut">
              <a:rPr lang="it-IT" smtClean="0"/>
              <a:t>29/01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58FC36-98BF-44AA-8DC0-071342A38F9E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241105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0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BB935C-7C44-411F-83BE-6DF2428951A9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31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27384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20.png"/><Relationship Id="rId7" Type="http://schemas.openxmlformats.org/officeDocument/2006/relationships/image" Target="../media/image9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1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2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DED5CC4-81CC-3A7C-9306-D54CC2D3B2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EBF42AE-B840-27E4-43C1-5F816F6BE9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574CD21-9C68-366E-9DFE-30966F0C3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0148E-80EA-4707-BC54-0BF4CCE74621}" type="datetimeFigureOut">
              <a:rPr lang="it-IT" smtClean="0"/>
              <a:t>29/01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764CD2A-FCF2-A329-575F-9079E06D6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42B8800-7216-B461-EF1B-13E170FBD9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24374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E2C74E5-C828-5C87-A29C-9139A13846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4B88E549-04C4-1C42-6BAB-EC98AC630D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ECB4C764-935B-BB49-0D53-D9A84E69D6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0148E-80EA-4707-BC54-0BF4CCE74621}" type="datetimeFigureOut">
              <a:rPr lang="it-IT" smtClean="0"/>
              <a:t>29/01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4373A0E-7BC4-7775-ECE9-4BB8051844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E035A93-B245-C18A-83F4-DF2EDB5DD4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3632269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 w/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2401" y="6099934"/>
            <a:ext cx="10122383" cy="497417"/>
          </a:xfrm>
        </p:spPr>
        <p:txBody>
          <a:bodyPr anchor="b" anchorCtr="0">
            <a:noAutofit/>
          </a:bodyPr>
          <a:lstStyle>
            <a:lvl1pPr marL="0" indent="0">
              <a:buNone/>
              <a:defRPr sz="1067">
                <a:solidFill>
                  <a:srgbClr val="82786F"/>
                </a:solidFill>
              </a:defRPr>
            </a:lvl1pPr>
            <a:lvl2pPr marL="721749" indent="0">
              <a:buNone/>
              <a:defRPr/>
            </a:lvl2pPr>
            <a:lvl3pPr marL="1435028" indent="0">
              <a:buNone/>
              <a:defRPr/>
            </a:lvl3pPr>
            <a:lvl4pPr marL="2154659" indent="0">
              <a:buNone/>
              <a:defRPr/>
            </a:lvl4pPr>
            <a:lvl5pPr marL="287428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269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280731"/>
            <a:ext cx="10972800" cy="444182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1" y="425451"/>
            <a:ext cx="8145137" cy="612775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0" y="5994400"/>
            <a:ext cx="10236200" cy="863600"/>
          </a:xfrm>
          <a:prstGeom prst="rect">
            <a:avLst/>
          </a:prstGeom>
        </p:spPr>
        <p:txBody>
          <a:bodyPr vert="horz" lIns="180000" tIns="0" rIns="180000" bIns="0" rtlCol="0" anchor="ctr"/>
          <a:lstStyle>
            <a:lvl1pPr eaLnBrk="0" hangingPunct="0">
              <a:defRPr sz="1000"/>
            </a:lvl1pPr>
          </a:lstStyle>
          <a:p>
            <a:pPr fontAlgn="base">
              <a:spcBef>
                <a:spcPct val="0"/>
              </a:spcBef>
              <a:spcAft>
                <a:spcPts val="600"/>
              </a:spcAft>
              <a:defRPr/>
            </a:pPr>
            <a:endParaRPr lang="en-US">
              <a:solidFill>
                <a:srgbClr val="2A2A2A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84257832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A. Content_fi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84000" y="6422433"/>
            <a:ext cx="9360000" cy="324000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Footno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E7BA4D6-17A2-4AB7-ACD0-593108A814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37941"/>
      </p:ext>
    </p:extLst>
  </p:cSld>
  <p:clrMapOvr>
    <a:masterClrMapping/>
  </p:clrMapOvr>
  <p:transition>
    <p:strips dir="rd"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81632326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51369" y="6401379"/>
            <a:ext cx="11418233" cy="230716"/>
          </a:xfrm>
        </p:spPr>
        <p:txBody>
          <a:bodyPr lIns="72000" anchor="b"/>
          <a:lstStyle>
            <a:lvl1pPr marL="0" indent="0">
              <a:buNone/>
              <a:defRPr sz="1067"/>
            </a:lvl1pPr>
            <a:lvl2pPr marL="353466" indent="0">
              <a:buNone/>
              <a:defRPr sz="1067"/>
            </a:lvl2pPr>
            <a:lvl3pPr marL="715397" indent="0">
              <a:buNone/>
              <a:defRPr sz="1067"/>
            </a:lvl3pPr>
            <a:lvl4pPr marL="1077330" indent="0">
              <a:buNone/>
              <a:defRPr sz="1067"/>
            </a:lvl4pPr>
            <a:lvl5pPr marL="1430795" indent="0">
              <a:buNone/>
              <a:defRPr sz="1067"/>
            </a:lvl5pPr>
          </a:lstStyle>
          <a:p>
            <a:pPr lvl="0"/>
            <a:r>
              <a:rPr lang="en-US"/>
              <a:t>References</a:t>
            </a:r>
            <a:endParaRPr lang="en-GB"/>
          </a:p>
        </p:txBody>
      </p:sp>
      <p:sp>
        <p:nvSpPr>
          <p:cNvPr id="5" name="Rectangle 23">
            <a:extLst>
              <a:ext uri="{FF2B5EF4-FFF2-40B4-BE49-F238E27FC236}">
                <a16:creationId xmlns:a16="http://schemas.microsoft.com/office/drawing/2014/main" id="{05EA8DB4-D7E0-43E4-83A9-B402A9644AC6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>
          <a:xfrm>
            <a:off x="11433388" y="139701"/>
            <a:ext cx="558816" cy="185419"/>
          </a:xfrm>
          <a:prstGeom prst="rect">
            <a:avLst/>
          </a:prstGeom>
          <a:ln/>
        </p:spPr>
        <p:txBody>
          <a:bodyPr/>
          <a:lstStyle>
            <a:lvl1pPr algn="r">
              <a:defRPr sz="1067">
                <a:solidFill>
                  <a:srgbClr val="AEA79F"/>
                </a:solidFill>
              </a:defRPr>
            </a:lvl1pPr>
          </a:lstStyle>
          <a:p>
            <a:pPr>
              <a:defRPr/>
            </a:pPr>
            <a:fld id="{198D2DA1-799D-4AB3-8D6A-C84E9B4FB822}" type="slidenum">
              <a:rPr lang="en-GB" smtClean="0"/>
              <a:pPr>
                <a:defRPr/>
              </a:pPr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5287483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6030637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310500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9507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7999" y="6055882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71420AF-1268-4AE1-84DA-164DB71C2C14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" name="Tagline" descr="{&quot;templafy&quot;:{&quot;id&quot;:&quot;e3df665a-8f46-4b5d-8e2b-161facb1978c&quot;}}" title="Form.PLogoChoice.PLogoInsertion">
            <a:extLst>
              <a:ext uri="{FF2B5EF4-FFF2-40B4-BE49-F238E27FC236}">
                <a16:creationId xmlns:a16="http://schemas.microsoft.com/office/drawing/2014/main" id="{8AE78219-5CBB-4760-B800-636AFE0A99A8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C86D47D-AFD8-4DC6-BD55-10180E93A9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17" name="Footer Placeholder 7">
            <a:extLst>
              <a:ext uri="{FF2B5EF4-FFF2-40B4-BE49-F238E27FC236}">
                <a16:creationId xmlns:a16="http://schemas.microsoft.com/office/drawing/2014/main" id="{FADB92D4-4128-4A3B-A654-38C0F1360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id="{8E1CB220-B3D7-46B6-BFDD-6B22270FC0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595465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 Content_fi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8" y="6210000"/>
            <a:ext cx="10899337" cy="324000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Footno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E7BA4D6-17A2-4AB7-ACD0-593108A814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242705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. Content_fi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8" y="6210000"/>
            <a:ext cx="10899337" cy="324000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Footno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E7BA4D6-17A2-4AB7-ACD0-593108A814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E56E277-C7C5-435D-8AD2-D5694A7BB96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" y="6553200"/>
            <a:ext cx="11555505" cy="304800"/>
          </a:xfrm>
        </p:spPr>
        <p:txBody>
          <a:bodyPr vert="horz" lIns="90000" tIns="46800" rIns="90000" bIns="46800" rtlCol="0" anchor="b">
            <a:noAutofit/>
          </a:bodyPr>
          <a:lstStyle>
            <a:lvl1pPr marL="0" indent="0">
              <a:spcAft>
                <a:spcPts val="0"/>
              </a:spcAft>
              <a:buNone/>
              <a:defRPr lang="en-GB" sz="700" i="1" dirty="0"/>
            </a:lvl1pPr>
          </a:lstStyle>
          <a:p>
            <a:pPr marL="270000" lvl="0" indent="-270000">
              <a:spcBef>
                <a:spcPts val="0"/>
              </a:spcBef>
              <a:spcAft>
                <a:spcPts val="0"/>
              </a:spcAft>
            </a:pPr>
            <a:r>
              <a:rPr lang="en-US"/>
              <a:t>Reference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874974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423335" y="5985835"/>
            <a:ext cx="11345333" cy="39158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216000" bIns="0" numCol="1" anchor="b" anchorCtr="0" compatLnSpc="1">
            <a:prstTxWarp prst="textNoShape">
              <a:avLst/>
            </a:prstTxWarp>
          </a:bodyPr>
          <a:lstStyle>
            <a:lvl1pPr>
              <a:spcAft>
                <a:spcPts val="0"/>
              </a:spcAft>
              <a:defRPr lang="en-US" sz="1000" dirty="0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9899750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4F7BCC4E-F40F-05D1-CCB7-2C3F29FFD9F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7EF23CE8-30ED-756D-F821-FC83B54061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F3E4DC66-61C6-5B25-8B52-CCCDA0BC82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0148E-80EA-4707-BC54-0BF4CCE74621}" type="datetimeFigureOut">
              <a:rPr lang="it-IT" smtClean="0"/>
              <a:t>29/01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04EEA47-A89E-F4D0-53CE-53442789CF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2BE46FF-7820-785B-92E4-3D685CBED4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063133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980C894-9D8D-4E84-92B9-6EA4ECCC00D1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5562000"/>
          </a:xfrm>
        </p:spPr>
        <p:txBody>
          <a:bodyPr bIns="144000" anchor="ctr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644800"/>
            <a:ext cx="1920000" cy="154800"/>
          </a:xfrm>
        </p:spPr>
        <p:txBody>
          <a:bodyPr anchor="t"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DBC0D27-79CE-4CB8-9819-041246B921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F363458-92CB-4BC5-8F81-D4DBE70473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1999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plac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1998" y="5652000"/>
            <a:ext cx="1920001" cy="15480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44FC0115-4875-40D6-A8D9-5C4D9A459273}" type="datetime3">
              <a:rPr lang="en-US" smtClean="0"/>
              <a:pPr/>
              <a:t>29 January 2025</a:t>
            </a:fld>
            <a:endParaRPr lang="en-US" dirty="0"/>
          </a:p>
        </p:txBody>
      </p:sp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4589B76A-6F33-43A1-BEAC-5DD74727BC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5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9CE848CF-6894-4564-ABE3-C9ED24818DCD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74075239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980C894-9D8D-4E84-92B9-6EA4ECCC00D1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5562000"/>
          </a:xfrm>
        </p:spPr>
        <p:txBody>
          <a:bodyPr bIns="144000" anchor="ctr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9CE848CF-6894-4564-ABE3-C9ED24818DCD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77902949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Content_fi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8" y="6210000"/>
            <a:ext cx="10899337" cy="324000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Footno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E7BA4D6-17A2-4AB7-ACD0-593108A814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40326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79958851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422401" y="1749631"/>
            <a:ext cx="5462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6307200" y="1749631"/>
            <a:ext cx="5462400" cy="39408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48322182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4" name="Content Placeholder 2"/>
          <p:cNvSpPr>
            <a:spLocks noGrp="1"/>
          </p:cNvSpPr>
          <p:nvPr>
            <p:ph idx="1"/>
          </p:nvPr>
        </p:nvSpPr>
        <p:spPr>
          <a:xfrm>
            <a:off x="422400" y="1749633"/>
            <a:ext cx="113472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422400" y="3831307"/>
            <a:ext cx="113472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96027273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80DF523-34A7-40E1-AE82-7A0D3594680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1999" cy="6858000"/>
          </a:xfrm>
          <a:custGeom>
            <a:avLst/>
            <a:gdLst>
              <a:gd name="connsiteX0" fmla="*/ 11666200 w 12191999"/>
              <a:gd name="connsiteY0" fmla="*/ 756760 h 6858000"/>
              <a:gd name="connsiteX1" fmla="*/ 11678975 w 12191999"/>
              <a:gd name="connsiteY1" fmla="*/ 761119 h 6858000"/>
              <a:gd name="connsiteX2" fmla="*/ 11678975 w 12191999"/>
              <a:gd name="connsiteY2" fmla="*/ 808195 h 6858000"/>
              <a:gd name="connsiteX3" fmla="*/ 11678845 w 12191999"/>
              <a:gd name="connsiteY3" fmla="*/ 808195 h 6858000"/>
              <a:gd name="connsiteX4" fmla="*/ 11667095 w 12191999"/>
              <a:gd name="connsiteY4" fmla="*/ 813579 h 6858000"/>
              <a:gd name="connsiteX5" fmla="*/ 11644998 w 12191999"/>
              <a:gd name="connsiteY5" fmla="*/ 784080 h 6858000"/>
              <a:gd name="connsiteX6" fmla="*/ 11666200 w 12191999"/>
              <a:gd name="connsiteY6" fmla="*/ 756760 h 6858000"/>
              <a:gd name="connsiteX7" fmla="*/ 11553608 w 12191999"/>
              <a:gd name="connsiteY7" fmla="*/ 755951 h 6858000"/>
              <a:gd name="connsiteX8" fmla="*/ 11565369 w 12191999"/>
              <a:gd name="connsiteY8" fmla="*/ 760439 h 6858000"/>
              <a:gd name="connsiteX9" fmla="*/ 11571638 w 12191999"/>
              <a:gd name="connsiteY9" fmla="*/ 784954 h 6858000"/>
              <a:gd name="connsiteX10" fmla="*/ 11565369 w 12191999"/>
              <a:gd name="connsiteY10" fmla="*/ 809339 h 6858000"/>
              <a:gd name="connsiteX11" fmla="*/ 11553608 w 12191999"/>
              <a:gd name="connsiteY11" fmla="*/ 813698 h 6858000"/>
              <a:gd name="connsiteX12" fmla="*/ 11542106 w 12191999"/>
              <a:gd name="connsiteY12" fmla="*/ 809339 h 6858000"/>
              <a:gd name="connsiteX13" fmla="*/ 11535837 w 12191999"/>
              <a:gd name="connsiteY13" fmla="*/ 784954 h 6858000"/>
              <a:gd name="connsiteX14" fmla="*/ 11542106 w 12191999"/>
              <a:gd name="connsiteY14" fmla="*/ 760439 h 6858000"/>
              <a:gd name="connsiteX15" fmla="*/ 11553608 w 12191999"/>
              <a:gd name="connsiteY15" fmla="*/ 755951 h 6858000"/>
              <a:gd name="connsiteX16" fmla="*/ 11389948 w 12191999"/>
              <a:gd name="connsiteY16" fmla="*/ 755951 h 6858000"/>
              <a:gd name="connsiteX17" fmla="*/ 11401504 w 12191999"/>
              <a:gd name="connsiteY17" fmla="*/ 760439 h 6858000"/>
              <a:gd name="connsiteX18" fmla="*/ 11407795 w 12191999"/>
              <a:gd name="connsiteY18" fmla="*/ 784954 h 6858000"/>
              <a:gd name="connsiteX19" fmla="*/ 11401504 w 12191999"/>
              <a:gd name="connsiteY19" fmla="*/ 809339 h 6858000"/>
              <a:gd name="connsiteX20" fmla="*/ 11389948 w 12191999"/>
              <a:gd name="connsiteY20" fmla="*/ 813698 h 6858000"/>
              <a:gd name="connsiteX21" fmla="*/ 11378133 w 12191999"/>
              <a:gd name="connsiteY21" fmla="*/ 809339 h 6858000"/>
              <a:gd name="connsiteX22" fmla="*/ 11371843 w 12191999"/>
              <a:gd name="connsiteY22" fmla="*/ 784954 h 6858000"/>
              <a:gd name="connsiteX23" fmla="*/ 11378133 w 12191999"/>
              <a:gd name="connsiteY23" fmla="*/ 760439 h 6858000"/>
              <a:gd name="connsiteX24" fmla="*/ 11389948 w 12191999"/>
              <a:gd name="connsiteY24" fmla="*/ 755951 h 6858000"/>
              <a:gd name="connsiteX25" fmla="*/ 11267462 w 12191999"/>
              <a:gd name="connsiteY25" fmla="*/ 755951 h 6858000"/>
              <a:gd name="connsiteX26" fmla="*/ 11279148 w 12191999"/>
              <a:gd name="connsiteY26" fmla="*/ 760439 h 6858000"/>
              <a:gd name="connsiteX27" fmla="*/ 11285438 w 12191999"/>
              <a:gd name="connsiteY27" fmla="*/ 784954 h 6858000"/>
              <a:gd name="connsiteX28" fmla="*/ 11279148 w 12191999"/>
              <a:gd name="connsiteY28" fmla="*/ 809339 h 6858000"/>
              <a:gd name="connsiteX29" fmla="*/ 11267462 w 12191999"/>
              <a:gd name="connsiteY29" fmla="*/ 813698 h 6858000"/>
              <a:gd name="connsiteX30" fmla="*/ 11255907 w 12191999"/>
              <a:gd name="connsiteY30" fmla="*/ 809339 h 6858000"/>
              <a:gd name="connsiteX31" fmla="*/ 11249616 w 12191999"/>
              <a:gd name="connsiteY31" fmla="*/ 784954 h 6858000"/>
              <a:gd name="connsiteX32" fmla="*/ 11255907 w 12191999"/>
              <a:gd name="connsiteY32" fmla="*/ 760439 h 6858000"/>
              <a:gd name="connsiteX33" fmla="*/ 11267462 w 12191999"/>
              <a:gd name="connsiteY33" fmla="*/ 755951 h 6858000"/>
              <a:gd name="connsiteX34" fmla="*/ 11708668 w 12191999"/>
              <a:gd name="connsiteY34" fmla="*/ 750005 h 6858000"/>
              <a:gd name="connsiteX35" fmla="*/ 11706381 w 12191999"/>
              <a:gd name="connsiteY35" fmla="*/ 752433 h 6858000"/>
              <a:gd name="connsiteX36" fmla="*/ 11706381 w 12191999"/>
              <a:gd name="connsiteY36" fmla="*/ 817032 h 6858000"/>
              <a:gd name="connsiteX37" fmla="*/ 11708420 w 12191999"/>
              <a:gd name="connsiteY37" fmla="*/ 819459 h 6858000"/>
              <a:gd name="connsiteX38" fmla="*/ 11715671 w 12191999"/>
              <a:gd name="connsiteY38" fmla="*/ 819459 h 6858000"/>
              <a:gd name="connsiteX39" fmla="*/ 11718206 w 12191999"/>
              <a:gd name="connsiteY39" fmla="*/ 817032 h 6858000"/>
              <a:gd name="connsiteX40" fmla="*/ 11718206 w 12191999"/>
              <a:gd name="connsiteY40" fmla="*/ 752433 h 6858000"/>
              <a:gd name="connsiteX41" fmla="*/ 11715660 w 12191999"/>
              <a:gd name="connsiteY41" fmla="*/ 750005 h 6858000"/>
              <a:gd name="connsiteX42" fmla="*/ 11708668 w 12191999"/>
              <a:gd name="connsiteY42" fmla="*/ 750005 h 6858000"/>
              <a:gd name="connsiteX43" fmla="*/ 11826514 w 12191999"/>
              <a:gd name="connsiteY43" fmla="*/ 749671 h 6858000"/>
              <a:gd name="connsiteX44" fmla="*/ 11822404 w 12191999"/>
              <a:gd name="connsiteY44" fmla="*/ 751851 h 6858000"/>
              <a:gd name="connsiteX45" fmla="*/ 11798623 w 12191999"/>
              <a:gd name="connsiteY45" fmla="*/ 781695 h 6858000"/>
              <a:gd name="connsiteX46" fmla="*/ 11798105 w 12191999"/>
              <a:gd name="connsiteY46" fmla="*/ 782461 h 6858000"/>
              <a:gd name="connsiteX47" fmla="*/ 11798234 w 12191999"/>
              <a:gd name="connsiteY47" fmla="*/ 783227 h 6858000"/>
              <a:gd name="connsiteX48" fmla="*/ 11822145 w 12191999"/>
              <a:gd name="connsiteY48" fmla="*/ 817420 h 6858000"/>
              <a:gd name="connsiteX49" fmla="*/ 11826126 w 12191999"/>
              <a:gd name="connsiteY49" fmla="*/ 819470 h 6858000"/>
              <a:gd name="connsiteX50" fmla="*/ 11835254 w 12191999"/>
              <a:gd name="connsiteY50" fmla="*/ 819470 h 6858000"/>
              <a:gd name="connsiteX51" fmla="*/ 11837175 w 12191999"/>
              <a:gd name="connsiteY51" fmla="*/ 817798 h 6858000"/>
              <a:gd name="connsiteX52" fmla="*/ 11836279 w 12191999"/>
              <a:gd name="connsiteY52" fmla="*/ 816136 h 6858000"/>
              <a:gd name="connsiteX53" fmla="*/ 11810826 w 12191999"/>
              <a:gd name="connsiteY53" fmla="*/ 782450 h 6858000"/>
              <a:gd name="connsiteX54" fmla="*/ 11810567 w 12191999"/>
              <a:gd name="connsiteY54" fmla="*/ 782192 h 6858000"/>
              <a:gd name="connsiteX55" fmla="*/ 11834607 w 12191999"/>
              <a:gd name="connsiteY55" fmla="*/ 753890 h 6858000"/>
              <a:gd name="connsiteX56" fmla="*/ 11835254 w 12191999"/>
              <a:gd name="connsiteY56" fmla="*/ 751203 h 6858000"/>
              <a:gd name="connsiteX57" fmla="*/ 11832816 w 12191999"/>
              <a:gd name="connsiteY57" fmla="*/ 749671 h 6858000"/>
              <a:gd name="connsiteX58" fmla="*/ 11826514 w 12191999"/>
              <a:gd name="connsiteY58" fmla="*/ 749671 h 6858000"/>
              <a:gd name="connsiteX59" fmla="*/ 11301634 w 12191999"/>
              <a:gd name="connsiteY59" fmla="*/ 749671 h 6858000"/>
              <a:gd name="connsiteX60" fmla="*/ 11299832 w 12191999"/>
              <a:gd name="connsiteY60" fmla="*/ 751462 h 6858000"/>
              <a:gd name="connsiteX61" fmla="*/ 11300350 w 12191999"/>
              <a:gd name="connsiteY61" fmla="*/ 753383 h 6858000"/>
              <a:gd name="connsiteX62" fmla="*/ 11324605 w 12191999"/>
              <a:gd name="connsiteY62" fmla="*/ 817399 h 6858000"/>
              <a:gd name="connsiteX63" fmla="*/ 11326785 w 12191999"/>
              <a:gd name="connsiteY63" fmla="*/ 819449 h 6858000"/>
              <a:gd name="connsiteX64" fmla="*/ 11332050 w 12191999"/>
              <a:gd name="connsiteY64" fmla="*/ 819449 h 6858000"/>
              <a:gd name="connsiteX65" fmla="*/ 11334489 w 12191999"/>
              <a:gd name="connsiteY65" fmla="*/ 817399 h 6858000"/>
              <a:gd name="connsiteX66" fmla="*/ 11358108 w 12191999"/>
              <a:gd name="connsiteY66" fmla="*/ 753135 h 6858000"/>
              <a:gd name="connsiteX67" fmla="*/ 11358366 w 12191999"/>
              <a:gd name="connsiteY67" fmla="*/ 751085 h 6858000"/>
              <a:gd name="connsiteX68" fmla="*/ 11356694 w 12191999"/>
              <a:gd name="connsiteY68" fmla="*/ 749671 h 6858000"/>
              <a:gd name="connsiteX69" fmla="*/ 11350015 w 12191999"/>
              <a:gd name="connsiteY69" fmla="*/ 749671 h 6858000"/>
              <a:gd name="connsiteX70" fmla="*/ 11348343 w 12191999"/>
              <a:gd name="connsiteY70" fmla="*/ 751592 h 6858000"/>
              <a:gd name="connsiteX71" fmla="*/ 11330885 w 12191999"/>
              <a:gd name="connsiteY71" fmla="*/ 802908 h 6858000"/>
              <a:gd name="connsiteX72" fmla="*/ 11312920 w 12191999"/>
              <a:gd name="connsiteY72" fmla="*/ 751851 h 6858000"/>
              <a:gd name="connsiteX73" fmla="*/ 11309845 w 12191999"/>
              <a:gd name="connsiteY73" fmla="*/ 749671 h 6858000"/>
              <a:gd name="connsiteX74" fmla="*/ 11301634 w 12191999"/>
              <a:gd name="connsiteY74" fmla="*/ 749671 h 6858000"/>
              <a:gd name="connsiteX75" fmla="*/ 11754223 w 12191999"/>
              <a:gd name="connsiteY75" fmla="*/ 748506 h 6858000"/>
              <a:gd name="connsiteX76" fmla="*/ 11731241 w 12191999"/>
              <a:gd name="connsiteY76" fmla="*/ 767625 h 6858000"/>
              <a:gd name="connsiteX77" fmla="*/ 11749346 w 12191999"/>
              <a:gd name="connsiteY77" fmla="*/ 788417 h 6858000"/>
              <a:gd name="connsiteX78" fmla="*/ 11764236 w 12191999"/>
              <a:gd name="connsiteY78" fmla="*/ 801894 h 6858000"/>
              <a:gd name="connsiteX79" fmla="*/ 11750500 w 12191999"/>
              <a:gd name="connsiteY79" fmla="*/ 813698 h 6858000"/>
              <a:gd name="connsiteX80" fmla="*/ 11733679 w 12191999"/>
              <a:gd name="connsiteY80" fmla="*/ 806641 h 6858000"/>
              <a:gd name="connsiteX81" fmla="*/ 11728673 w 12191999"/>
              <a:gd name="connsiteY81" fmla="*/ 811130 h 6858000"/>
              <a:gd name="connsiteX82" fmla="*/ 11750241 w 12191999"/>
              <a:gd name="connsiteY82" fmla="*/ 821402 h 6858000"/>
              <a:gd name="connsiteX83" fmla="*/ 11774896 w 12191999"/>
              <a:gd name="connsiteY83" fmla="*/ 800610 h 6858000"/>
              <a:gd name="connsiteX84" fmla="*/ 11741901 w 12191999"/>
              <a:gd name="connsiteY84" fmla="*/ 766471 h 6858000"/>
              <a:gd name="connsiteX85" fmla="*/ 11753457 w 12191999"/>
              <a:gd name="connsiteY85" fmla="*/ 756199 h 6858000"/>
              <a:gd name="connsiteX86" fmla="*/ 11767322 w 12191999"/>
              <a:gd name="connsiteY86" fmla="*/ 761335 h 6858000"/>
              <a:gd name="connsiteX87" fmla="*/ 11772328 w 12191999"/>
              <a:gd name="connsiteY87" fmla="*/ 756587 h 6858000"/>
              <a:gd name="connsiteX88" fmla="*/ 11754223 w 12191999"/>
              <a:gd name="connsiteY88" fmla="*/ 748506 h 6858000"/>
              <a:gd name="connsiteX89" fmla="*/ 11614257 w 12191999"/>
              <a:gd name="connsiteY89" fmla="*/ 748117 h 6858000"/>
              <a:gd name="connsiteX90" fmla="*/ 11599001 w 12191999"/>
              <a:gd name="connsiteY90" fmla="*/ 750167 h 6858000"/>
              <a:gd name="connsiteX91" fmla="*/ 11592721 w 12191999"/>
              <a:gd name="connsiteY91" fmla="*/ 755659 h 6858000"/>
              <a:gd name="connsiteX92" fmla="*/ 11592721 w 12191999"/>
              <a:gd name="connsiteY92" fmla="*/ 816902 h 6858000"/>
              <a:gd name="connsiteX93" fmla="*/ 11595418 w 12191999"/>
              <a:gd name="connsiteY93" fmla="*/ 819071 h 6858000"/>
              <a:gd name="connsiteX94" fmla="*/ 11602216 w 12191999"/>
              <a:gd name="connsiteY94" fmla="*/ 819071 h 6858000"/>
              <a:gd name="connsiteX95" fmla="*/ 11604654 w 12191999"/>
              <a:gd name="connsiteY95" fmla="*/ 816902 h 6858000"/>
              <a:gd name="connsiteX96" fmla="*/ 11604654 w 12191999"/>
              <a:gd name="connsiteY96" fmla="*/ 760774 h 6858000"/>
              <a:gd name="connsiteX97" fmla="*/ 11611452 w 12191999"/>
              <a:gd name="connsiteY97" fmla="*/ 754764 h 6858000"/>
              <a:gd name="connsiteX98" fmla="*/ 11625943 w 12191999"/>
              <a:gd name="connsiteY98" fmla="*/ 761033 h 6858000"/>
              <a:gd name="connsiteX99" fmla="*/ 11631823 w 12191999"/>
              <a:gd name="connsiteY99" fmla="*/ 755152 h 6858000"/>
              <a:gd name="connsiteX100" fmla="*/ 11614257 w 12191999"/>
              <a:gd name="connsiteY100" fmla="*/ 748117 h 6858000"/>
              <a:gd name="connsiteX101" fmla="*/ 11553619 w 12191999"/>
              <a:gd name="connsiteY101" fmla="*/ 748117 h 6858000"/>
              <a:gd name="connsiteX102" fmla="*/ 11536236 w 12191999"/>
              <a:gd name="connsiteY102" fmla="*/ 753124 h 6858000"/>
              <a:gd name="connsiteX103" fmla="*/ 11523450 w 12191999"/>
              <a:gd name="connsiteY103" fmla="*/ 784954 h 6858000"/>
              <a:gd name="connsiteX104" fmla="*/ 11536236 w 12191999"/>
              <a:gd name="connsiteY104" fmla="*/ 816654 h 6858000"/>
              <a:gd name="connsiteX105" fmla="*/ 11553619 w 12191999"/>
              <a:gd name="connsiteY105" fmla="*/ 821531 h 6858000"/>
              <a:gd name="connsiteX106" fmla="*/ 11571001 w 12191999"/>
              <a:gd name="connsiteY106" fmla="*/ 816654 h 6858000"/>
              <a:gd name="connsiteX107" fmla="*/ 11583917 w 12191999"/>
              <a:gd name="connsiteY107" fmla="*/ 784954 h 6858000"/>
              <a:gd name="connsiteX108" fmla="*/ 11571001 w 12191999"/>
              <a:gd name="connsiteY108" fmla="*/ 753124 h 6858000"/>
              <a:gd name="connsiteX109" fmla="*/ 11553619 w 12191999"/>
              <a:gd name="connsiteY109" fmla="*/ 748117 h 6858000"/>
              <a:gd name="connsiteX110" fmla="*/ 11486031 w 12191999"/>
              <a:gd name="connsiteY110" fmla="*/ 748117 h 6858000"/>
              <a:gd name="connsiteX111" fmla="*/ 11465229 w 12191999"/>
              <a:gd name="connsiteY111" fmla="*/ 751452 h 6858000"/>
              <a:gd name="connsiteX112" fmla="*/ 11459230 w 12191999"/>
              <a:gd name="connsiteY112" fmla="*/ 756965 h 6858000"/>
              <a:gd name="connsiteX113" fmla="*/ 11459230 w 12191999"/>
              <a:gd name="connsiteY113" fmla="*/ 817010 h 6858000"/>
              <a:gd name="connsiteX114" fmla="*/ 11461787 w 12191999"/>
              <a:gd name="connsiteY114" fmla="*/ 819449 h 6858000"/>
              <a:gd name="connsiteX115" fmla="*/ 11468422 w 12191999"/>
              <a:gd name="connsiteY115" fmla="*/ 819449 h 6858000"/>
              <a:gd name="connsiteX116" fmla="*/ 11471228 w 12191999"/>
              <a:gd name="connsiteY116" fmla="*/ 816751 h 6858000"/>
              <a:gd name="connsiteX117" fmla="*/ 11471228 w 12191999"/>
              <a:gd name="connsiteY117" fmla="*/ 761454 h 6858000"/>
              <a:gd name="connsiteX118" fmla="*/ 11485654 w 12191999"/>
              <a:gd name="connsiteY118" fmla="*/ 755422 h 6858000"/>
              <a:gd name="connsiteX119" fmla="*/ 11501223 w 12191999"/>
              <a:gd name="connsiteY119" fmla="*/ 771844 h 6858000"/>
              <a:gd name="connsiteX120" fmla="*/ 11501223 w 12191999"/>
              <a:gd name="connsiteY120" fmla="*/ 816751 h 6858000"/>
              <a:gd name="connsiteX121" fmla="*/ 11504288 w 12191999"/>
              <a:gd name="connsiteY121" fmla="*/ 819449 h 6858000"/>
              <a:gd name="connsiteX122" fmla="*/ 11511690 w 12191999"/>
              <a:gd name="connsiteY122" fmla="*/ 819449 h 6858000"/>
              <a:gd name="connsiteX123" fmla="*/ 11512963 w 12191999"/>
              <a:gd name="connsiteY123" fmla="*/ 816762 h 6858000"/>
              <a:gd name="connsiteX124" fmla="*/ 11512963 w 12191999"/>
              <a:gd name="connsiteY124" fmla="*/ 770312 h 6858000"/>
              <a:gd name="connsiteX125" fmla="*/ 11486031 w 12191999"/>
              <a:gd name="connsiteY125" fmla="*/ 748117 h 6858000"/>
              <a:gd name="connsiteX126" fmla="*/ 11389700 w 12191999"/>
              <a:gd name="connsiteY126" fmla="*/ 748117 h 6858000"/>
              <a:gd name="connsiteX127" fmla="*/ 11372242 w 12191999"/>
              <a:gd name="connsiteY127" fmla="*/ 753124 h 6858000"/>
              <a:gd name="connsiteX128" fmla="*/ 11359402 w 12191999"/>
              <a:gd name="connsiteY128" fmla="*/ 784954 h 6858000"/>
              <a:gd name="connsiteX129" fmla="*/ 11372242 w 12191999"/>
              <a:gd name="connsiteY129" fmla="*/ 816654 h 6858000"/>
              <a:gd name="connsiteX130" fmla="*/ 11389700 w 12191999"/>
              <a:gd name="connsiteY130" fmla="*/ 821531 h 6858000"/>
              <a:gd name="connsiteX131" fmla="*/ 11407158 w 12191999"/>
              <a:gd name="connsiteY131" fmla="*/ 816654 h 6858000"/>
              <a:gd name="connsiteX132" fmla="*/ 11420127 w 12191999"/>
              <a:gd name="connsiteY132" fmla="*/ 784954 h 6858000"/>
              <a:gd name="connsiteX133" fmla="*/ 11407158 w 12191999"/>
              <a:gd name="connsiteY133" fmla="*/ 753124 h 6858000"/>
              <a:gd name="connsiteX134" fmla="*/ 11389700 w 12191999"/>
              <a:gd name="connsiteY134" fmla="*/ 748117 h 6858000"/>
              <a:gd name="connsiteX135" fmla="*/ 11267473 w 12191999"/>
              <a:gd name="connsiteY135" fmla="*/ 748117 h 6858000"/>
              <a:gd name="connsiteX136" fmla="*/ 11250015 w 12191999"/>
              <a:gd name="connsiteY136" fmla="*/ 753124 h 6858000"/>
              <a:gd name="connsiteX137" fmla="*/ 11237046 w 12191999"/>
              <a:gd name="connsiteY137" fmla="*/ 784954 h 6858000"/>
              <a:gd name="connsiteX138" fmla="*/ 11250015 w 12191999"/>
              <a:gd name="connsiteY138" fmla="*/ 816654 h 6858000"/>
              <a:gd name="connsiteX139" fmla="*/ 11267473 w 12191999"/>
              <a:gd name="connsiteY139" fmla="*/ 821531 h 6858000"/>
              <a:gd name="connsiteX140" fmla="*/ 11284931 w 12191999"/>
              <a:gd name="connsiteY140" fmla="*/ 816654 h 6858000"/>
              <a:gd name="connsiteX141" fmla="*/ 11297771 w 12191999"/>
              <a:gd name="connsiteY141" fmla="*/ 784954 h 6858000"/>
              <a:gd name="connsiteX142" fmla="*/ 11284931 w 12191999"/>
              <a:gd name="connsiteY142" fmla="*/ 753124 h 6858000"/>
              <a:gd name="connsiteX143" fmla="*/ 11267473 w 12191999"/>
              <a:gd name="connsiteY143" fmla="*/ 748117 h 6858000"/>
              <a:gd name="connsiteX144" fmla="*/ 11199756 w 12191999"/>
              <a:gd name="connsiteY144" fmla="*/ 748117 h 6858000"/>
              <a:gd name="connsiteX145" fmla="*/ 11178857 w 12191999"/>
              <a:gd name="connsiteY145" fmla="*/ 751452 h 6858000"/>
              <a:gd name="connsiteX146" fmla="*/ 11172825 w 12191999"/>
              <a:gd name="connsiteY146" fmla="*/ 756965 h 6858000"/>
              <a:gd name="connsiteX147" fmla="*/ 11172825 w 12191999"/>
              <a:gd name="connsiteY147" fmla="*/ 817010 h 6858000"/>
              <a:gd name="connsiteX148" fmla="*/ 11175263 w 12191999"/>
              <a:gd name="connsiteY148" fmla="*/ 819449 h 6858000"/>
              <a:gd name="connsiteX149" fmla="*/ 11181932 w 12191999"/>
              <a:gd name="connsiteY149" fmla="*/ 819449 h 6858000"/>
              <a:gd name="connsiteX150" fmla="*/ 11184748 w 12191999"/>
              <a:gd name="connsiteY150" fmla="*/ 816751 h 6858000"/>
              <a:gd name="connsiteX151" fmla="*/ 11184748 w 12191999"/>
              <a:gd name="connsiteY151" fmla="*/ 761454 h 6858000"/>
              <a:gd name="connsiteX152" fmla="*/ 11199238 w 12191999"/>
              <a:gd name="connsiteY152" fmla="*/ 755422 h 6858000"/>
              <a:gd name="connsiteX153" fmla="*/ 11214884 w 12191999"/>
              <a:gd name="connsiteY153" fmla="*/ 771844 h 6858000"/>
              <a:gd name="connsiteX154" fmla="*/ 11214884 w 12191999"/>
              <a:gd name="connsiteY154" fmla="*/ 816751 h 6858000"/>
              <a:gd name="connsiteX155" fmla="*/ 11217959 w 12191999"/>
              <a:gd name="connsiteY155" fmla="*/ 819449 h 6858000"/>
              <a:gd name="connsiteX156" fmla="*/ 11225393 w 12191999"/>
              <a:gd name="connsiteY156" fmla="*/ 819449 h 6858000"/>
              <a:gd name="connsiteX157" fmla="*/ 11226817 w 12191999"/>
              <a:gd name="connsiteY157" fmla="*/ 816762 h 6858000"/>
              <a:gd name="connsiteX158" fmla="*/ 11226817 w 12191999"/>
              <a:gd name="connsiteY158" fmla="*/ 770312 h 6858000"/>
              <a:gd name="connsiteX159" fmla="*/ 11199756 w 12191999"/>
              <a:gd name="connsiteY159" fmla="*/ 748117 h 6858000"/>
              <a:gd name="connsiteX160" fmla="*/ 11681273 w 12191999"/>
              <a:gd name="connsiteY160" fmla="*/ 724801 h 6858000"/>
              <a:gd name="connsiteX161" fmla="*/ 11678845 w 12191999"/>
              <a:gd name="connsiteY161" fmla="*/ 727876 h 6858000"/>
              <a:gd name="connsiteX162" fmla="*/ 11678845 w 12191999"/>
              <a:gd name="connsiteY162" fmla="*/ 752250 h 6858000"/>
              <a:gd name="connsiteX163" fmla="*/ 11664279 w 12191999"/>
              <a:gd name="connsiteY163" fmla="*/ 748527 h 6858000"/>
              <a:gd name="connsiteX164" fmla="*/ 11632848 w 12191999"/>
              <a:gd name="connsiteY164" fmla="*/ 784954 h 6858000"/>
              <a:gd name="connsiteX165" fmla="*/ 11666707 w 12191999"/>
              <a:gd name="connsiteY165" fmla="*/ 821510 h 6858000"/>
              <a:gd name="connsiteX166" fmla="*/ 11690477 w 12191999"/>
              <a:gd name="connsiteY166" fmla="*/ 812036 h 6858000"/>
              <a:gd name="connsiteX167" fmla="*/ 11690477 w 12191999"/>
              <a:gd name="connsiteY167" fmla="*/ 727498 h 6858000"/>
              <a:gd name="connsiteX168" fmla="*/ 11687919 w 12191999"/>
              <a:gd name="connsiteY168" fmla="*/ 724801 h 6858000"/>
              <a:gd name="connsiteX169" fmla="*/ 11681273 w 12191999"/>
              <a:gd name="connsiteY169" fmla="*/ 724801 h 6858000"/>
              <a:gd name="connsiteX170" fmla="*/ 11786797 w 12191999"/>
              <a:gd name="connsiteY170" fmla="*/ 724552 h 6858000"/>
              <a:gd name="connsiteX171" fmla="*/ 11784607 w 12191999"/>
              <a:gd name="connsiteY171" fmla="*/ 726732 h 6858000"/>
              <a:gd name="connsiteX172" fmla="*/ 11784607 w 12191999"/>
              <a:gd name="connsiteY172" fmla="*/ 817280 h 6858000"/>
              <a:gd name="connsiteX173" fmla="*/ 11786797 w 12191999"/>
              <a:gd name="connsiteY173" fmla="*/ 819330 h 6858000"/>
              <a:gd name="connsiteX174" fmla="*/ 11793864 w 12191999"/>
              <a:gd name="connsiteY174" fmla="*/ 819330 h 6858000"/>
              <a:gd name="connsiteX175" fmla="*/ 11796303 w 12191999"/>
              <a:gd name="connsiteY175" fmla="*/ 817409 h 6858000"/>
              <a:gd name="connsiteX176" fmla="*/ 11796303 w 12191999"/>
              <a:gd name="connsiteY176" fmla="*/ 726473 h 6858000"/>
              <a:gd name="connsiteX177" fmla="*/ 11793864 w 12191999"/>
              <a:gd name="connsiteY177" fmla="*/ 724552 h 6858000"/>
              <a:gd name="connsiteX178" fmla="*/ 11786797 w 12191999"/>
              <a:gd name="connsiteY178" fmla="*/ 724552 h 6858000"/>
              <a:gd name="connsiteX179" fmla="*/ 11712617 w 12191999"/>
              <a:gd name="connsiteY179" fmla="*/ 723776 h 6858000"/>
              <a:gd name="connsiteX180" fmla="*/ 11705237 w 12191999"/>
              <a:gd name="connsiteY180" fmla="*/ 730940 h 6858000"/>
              <a:gd name="connsiteX181" fmla="*/ 11712358 w 12191999"/>
              <a:gd name="connsiteY181" fmla="*/ 737975 h 6858000"/>
              <a:gd name="connsiteX182" fmla="*/ 11719609 w 12191999"/>
              <a:gd name="connsiteY182" fmla="*/ 730433 h 6858000"/>
              <a:gd name="connsiteX183" fmla="*/ 11712617 w 12191999"/>
              <a:gd name="connsiteY183" fmla="*/ 723776 h 6858000"/>
              <a:gd name="connsiteX184" fmla="*/ 11855021 w 12191999"/>
              <a:gd name="connsiteY184" fmla="*/ 713601 h 6858000"/>
              <a:gd name="connsiteX185" fmla="*/ 11855284 w 12191999"/>
              <a:gd name="connsiteY185" fmla="*/ 713794 h 6858000"/>
              <a:gd name="connsiteX186" fmla="*/ 11855021 w 12191999"/>
              <a:gd name="connsiteY186" fmla="*/ 713860 h 6858000"/>
              <a:gd name="connsiteX187" fmla="*/ 11855021 w 12191999"/>
              <a:gd name="connsiteY187" fmla="*/ 713601 h 6858000"/>
              <a:gd name="connsiteX188" fmla="*/ 11847209 w 12191999"/>
              <a:gd name="connsiteY188" fmla="*/ 704235 h 6858000"/>
              <a:gd name="connsiteX189" fmla="*/ 11851428 w 12191999"/>
              <a:gd name="connsiteY189" fmla="*/ 704235 h 6858000"/>
              <a:gd name="connsiteX190" fmla="*/ 11857190 w 12191999"/>
              <a:gd name="connsiteY190" fmla="*/ 707699 h 6858000"/>
              <a:gd name="connsiteX191" fmla="*/ 11851817 w 12191999"/>
              <a:gd name="connsiteY191" fmla="*/ 711162 h 6858000"/>
              <a:gd name="connsiteX192" fmla="*/ 11847209 w 12191999"/>
              <a:gd name="connsiteY192" fmla="*/ 711162 h 6858000"/>
              <a:gd name="connsiteX193" fmla="*/ 11843627 w 12191999"/>
              <a:gd name="connsiteY193" fmla="*/ 701020 h 6858000"/>
              <a:gd name="connsiteX194" fmla="*/ 11843627 w 12191999"/>
              <a:gd name="connsiteY194" fmla="*/ 724250 h 6858000"/>
              <a:gd name="connsiteX195" fmla="*/ 11847468 w 12191999"/>
              <a:gd name="connsiteY195" fmla="*/ 724250 h 6858000"/>
              <a:gd name="connsiteX196" fmla="*/ 11847468 w 12191999"/>
              <a:gd name="connsiteY196" fmla="*/ 714367 h 6858000"/>
              <a:gd name="connsiteX197" fmla="*/ 11849648 w 12191999"/>
              <a:gd name="connsiteY197" fmla="*/ 714367 h 6858000"/>
              <a:gd name="connsiteX198" fmla="*/ 11856553 w 12191999"/>
              <a:gd name="connsiteY198" fmla="*/ 720528 h 6858000"/>
              <a:gd name="connsiteX199" fmla="*/ 11858603 w 12191999"/>
              <a:gd name="connsiteY199" fmla="*/ 724121 h 6858000"/>
              <a:gd name="connsiteX200" fmla="*/ 11863081 w 12191999"/>
              <a:gd name="connsiteY200" fmla="*/ 724121 h 6858000"/>
              <a:gd name="connsiteX201" fmla="*/ 11860265 w 12191999"/>
              <a:gd name="connsiteY201" fmla="*/ 719503 h 6858000"/>
              <a:gd name="connsiteX202" fmla="*/ 11857064 w 12191999"/>
              <a:gd name="connsiteY202" fmla="*/ 715107 h 6858000"/>
              <a:gd name="connsiteX203" fmla="*/ 11855284 w 12191999"/>
              <a:gd name="connsiteY203" fmla="*/ 713794 h 6858000"/>
              <a:gd name="connsiteX204" fmla="*/ 11858039 w 12191999"/>
              <a:gd name="connsiteY204" fmla="*/ 713107 h 6858000"/>
              <a:gd name="connsiteX205" fmla="*/ 11861549 w 12191999"/>
              <a:gd name="connsiteY205" fmla="*/ 707310 h 6858000"/>
              <a:gd name="connsiteX206" fmla="*/ 11859370 w 12191999"/>
              <a:gd name="connsiteY206" fmla="*/ 702822 h 6858000"/>
              <a:gd name="connsiteX207" fmla="*/ 11851817 w 12191999"/>
              <a:gd name="connsiteY207" fmla="*/ 701020 h 6858000"/>
              <a:gd name="connsiteX208" fmla="*/ 11843627 w 12191999"/>
              <a:gd name="connsiteY208" fmla="*/ 701020 h 6858000"/>
              <a:gd name="connsiteX209" fmla="*/ 11852712 w 12191999"/>
              <a:gd name="connsiteY209" fmla="*/ 694611 h 6858000"/>
              <a:gd name="connsiteX210" fmla="*/ 11870623 w 12191999"/>
              <a:gd name="connsiteY210" fmla="*/ 712446 h 6858000"/>
              <a:gd name="connsiteX211" fmla="*/ 11852712 w 12191999"/>
              <a:gd name="connsiteY211" fmla="*/ 730541 h 6858000"/>
              <a:gd name="connsiteX212" fmla="*/ 11834931 w 12191999"/>
              <a:gd name="connsiteY212" fmla="*/ 712446 h 6858000"/>
              <a:gd name="connsiteX213" fmla="*/ 11852712 w 12191999"/>
              <a:gd name="connsiteY213" fmla="*/ 694611 h 6858000"/>
              <a:gd name="connsiteX214" fmla="*/ 11852712 w 12191999"/>
              <a:gd name="connsiteY214" fmla="*/ 690888 h 6858000"/>
              <a:gd name="connsiteX215" fmla="*/ 11831348 w 12191999"/>
              <a:gd name="connsiteY215" fmla="*/ 712446 h 6858000"/>
              <a:gd name="connsiteX216" fmla="*/ 11852712 w 12191999"/>
              <a:gd name="connsiteY216" fmla="*/ 734004 h 6858000"/>
              <a:gd name="connsiteX217" fmla="*/ 11874076 w 12191999"/>
              <a:gd name="connsiteY217" fmla="*/ 712446 h 6858000"/>
              <a:gd name="connsiteX218" fmla="*/ 11852712 w 12191999"/>
              <a:gd name="connsiteY218" fmla="*/ 690888 h 6858000"/>
              <a:gd name="connsiteX219" fmla="*/ 11639380 w 12191999"/>
              <a:gd name="connsiteY219" fmla="*/ 551044 h 6858000"/>
              <a:gd name="connsiteX220" fmla="*/ 11641189 w 12191999"/>
              <a:gd name="connsiteY220" fmla="*/ 551862 h 6858000"/>
              <a:gd name="connsiteX221" fmla="*/ 11644652 w 12191999"/>
              <a:gd name="connsiteY221" fmla="*/ 634274 h 6858000"/>
              <a:gd name="connsiteX222" fmla="*/ 11640682 w 12191999"/>
              <a:gd name="connsiteY222" fmla="*/ 633508 h 6858000"/>
              <a:gd name="connsiteX223" fmla="*/ 11634273 w 12191999"/>
              <a:gd name="connsiteY223" fmla="*/ 599671 h 6858000"/>
              <a:gd name="connsiteX224" fmla="*/ 11638243 w 12191999"/>
              <a:gd name="connsiteY224" fmla="*/ 552250 h 6858000"/>
              <a:gd name="connsiteX225" fmla="*/ 11639380 w 12191999"/>
              <a:gd name="connsiteY225" fmla="*/ 551044 h 6858000"/>
              <a:gd name="connsiteX226" fmla="*/ 11490639 w 12191999"/>
              <a:gd name="connsiteY226" fmla="*/ 502002 h 6858000"/>
              <a:gd name="connsiteX227" fmla="*/ 11550015 w 12191999"/>
              <a:gd name="connsiteY227" fmla="*/ 504052 h 6858000"/>
              <a:gd name="connsiteX228" fmla="*/ 11548343 w 12191999"/>
              <a:gd name="connsiteY228" fmla="*/ 536605 h 6858000"/>
              <a:gd name="connsiteX229" fmla="*/ 11499486 w 12191999"/>
              <a:gd name="connsiteY229" fmla="*/ 541094 h 6858000"/>
              <a:gd name="connsiteX230" fmla="*/ 11492948 w 12191999"/>
              <a:gd name="connsiteY230" fmla="*/ 533659 h 6858000"/>
              <a:gd name="connsiteX231" fmla="*/ 11490639 w 12191999"/>
              <a:gd name="connsiteY231" fmla="*/ 502002 h 6858000"/>
              <a:gd name="connsiteX232" fmla="*/ 11594253 w 12191999"/>
              <a:gd name="connsiteY232" fmla="*/ 498797 h 6858000"/>
              <a:gd name="connsiteX233" fmla="*/ 11598612 w 12191999"/>
              <a:gd name="connsiteY233" fmla="*/ 520075 h 6858000"/>
              <a:gd name="connsiteX234" fmla="*/ 11588351 w 12191999"/>
              <a:gd name="connsiteY234" fmla="*/ 527509 h 6858000"/>
              <a:gd name="connsiteX235" fmla="*/ 11580011 w 12191999"/>
              <a:gd name="connsiteY235" fmla="*/ 500718 h 6858000"/>
              <a:gd name="connsiteX236" fmla="*/ 11594253 w 12191999"/>
              <a:gd name="connsiteY236" fmla="*/ 498797 h 6858000"/>
              <a:gd name="connsiteX237" fmla="*/ 11441405 w 12191999"/>
              <a:gd name="connsiteY237" fmla="*/ 491374 h 6858000"/>
              <a:gd name="connsiteX238" fmla="*/ 11460384 w 12191999"/>
              <a:gd name="connsiteY238" fmla="*/ 496499 h 6858000"/>
              <a:gd name="connsiteX239" fmla="*/ 11442948 w 12191999"/>
              <a:gd name="connsiteY239" fmla="*/ 533670 h 6858000"/>
              <a:gd name="connsiteX240" fmla="*/ 11434607 w 12191999"/>
              <a:gd name="connsiteY240" fmla="*/ 527132 h 6858000"/>
              <a:gd name="connsiteX241" fmla="*/ 11441405 w 12191999"/>
              <a:gd name="connsiteY241" fmla="*/ 491374 h 6858000"/>
              <a:gd name="connsiteX242" fmla="*/ 11419441 w 12191999"/>
              <a:gd name="connsiteY242" fmla="*/ 484343 h 6858000"/>
              <a:gd name="connsiteX243" fmla="*/ 11431543 w 12191999"/>
              <a:gd name="connsiteY243" fmla="*/ 488299 h 6858000"/>
              <a:gd name="connsiteX244" fmla="*/ 11423202 w 12191999"/>
              <a:gd name="connsiteY244" fmla="*/ 532257 h 6858000"/>
              <a:gd name="connsiteX245" fmla="*/ 11444102 w 12191999"/>
              <a:gd name="connsiteY245" fmla="*/ 543154 h 6858000"/>
              <a:gd name="connsiteX246" fmla="*/ 11469620 w 12191999"/>
              <a:gd name="connsiteY246" fmla="*/ 498549 h 6858000"/>
              <a:gd name="connsiteX247" fmla="*/ 11481672 w 12191999"/>
              <a:gd name="connsiteY247" fmla="*/ 500729 h 6858000"/>
              <a:gd name="connsiteX248" fmla="*/ 11485395 w 12191999"/>
              <a:gd name="connsiteY248" fmla="*/ 542507 h 6858000"/>
              <a:gd name="connsiteX249" fmla="*/ 11498472 w 12191999"/>
              <a:gd name="connsiteY249" fmla="*/ 550707 h 6858000"/>
              <a:gd name="connsiteX250" fmla="*/ 11555917 w 12191999"/>
              <a:gd name="connsiteY250" fmla="*/ 543532 h 6858000"/>
              <a:gd name="connsiteX251" fmla="*/ 11559122 w 12191999"/>
              <a:gd name="connsiteY251" fmla="*/ 503286 h 6858000"/>
              <a:gd name="connsiteX252" fmla="*/ 11570149 w 12191999"/>
              <a:gd name="connsiteY252" fmla="*/ 502002 h 6858000"/>
              <a:gd name="connsiteX253" fmla="*/ 11579385 w 12191999"/>
              <a:gd name="connsiteY253" fmla="*/ 528405 h 6858000"/>
              <a:gd name="connsiteX254" fmla="*/ 11598752 w 12191999"/>
              <a:gd name="connsiteY254" fmla="*/ 531739 h 6858000"/>
              <a:gd name="connsiteX255" fmla="*/ 11602723 w 12191999"/>
              <a:gd name="connsiteY255" fmla="*/ 497773 h 6858000"/>
              <a:gd name="connsiteX256" fmla="*/ 11625673 w 12191999"/>
              <a:gd name="connsiteY256" fmla="*/ 533282 h 6858000"/>
              <a:gd name="connsiteX257" fmla="*/ 11612855 w 12191999"/>
              <a:gd name="connsiteY257" fmla="*/ 586216 h 6858000"/>
              <a:gd name="connsiteX258" fmla="*/ 11537326 w 12191999"/>
              <a:gd name="connsiteY258" fmla="*/ 569428 h 6858000"/>
              <a:gd name="connsiteX259" fmla="*/ 11459488 w 12191999"/>
              <a:gd name="connsiteY259" fmla="*/ 611465 h 6858000"/>
              <a:gd name="connsiteX260" fmla="*/ 11456154 w 12191999"/>
              <a:gd name="connsiteY260" fmla="*/ 612360 h 6858000"/>
              <a:gd name="connsiteX261" fmla="*/ 11418325 w 12191999"/>
              <a:gd name="connsiteY261" fmla="*/ 585191 h 6858000"/>
              <a:gd name="connsiteX262" fmla="*/ 11388707 w 12191999"/>
              <a:gd name="connsiteY262" fmla="*/ 549434 h 6858000"/>
              <a:gd name="connsiteX263" fmla="*/ 11414743 w 12191999"/>
              <a:gd name="connsiteY263" fmla="*/ 487403 h 6858000"/>
              <a:gd name="connsiteX264" fmla="*/ 11419441 w 12191999"/>
              <a:gd name="connsiteY264" fmla="*/ 484343 h 6858000"/>
              <a:gd name="connsiteX265" fmla="*/ 11358173 w 12191999"/>
              <a:gd name="connsiteY265" fmla="*/ 469801 h 6858000"/>
              <a:gd name="connsiteX266" fmla="*/ 11346260 w 12191999"/>
              <a:gd name="connsiteY266" fmla="*/ 478275 h 6858000"/>
              <a:gd name="connsiteX267" fmla="*/ 11361744 w 12191999"/>
              <a:gd name="connsiteY267" fmla="*/ 470744 h 6858000"/>
              <a:gd name="connsiteX268" fmla="*/ 11358173 w 12191999"/>
              <a:gd name="connsiteY268" fmla="*/ 469801 h 6858000"/>
              <a:gd name="connsiteX269" fmla="*/ 11354455 w 12191999"/>
              <a:gd name="connsiteY269" fmla="*/ 453696 h 6858000"/>
              <a:gd name="connsiteX270" fmla="*/ 11379471 w 12191999"/>
              <a:gd name="connsiteY270" fmla="*/ 464453 h 6858000"/>
              <a:gd name="connsiteX271" fmla="*/ 11401267 w 12191999"/>
              <a:gd name="connsiteY271" fmla="*/ 487522 h 6858000"/>
              <a:gd name="connsiteX272" fmla="*/ 11376515 w 12191999"/>
              <a:gd name="connsiteY272" fmla="*/ 541611 h 6858000"/>
              <a:gd name="connsiteX273" fmla="*/ 11357665 w 12191999"/>
              <a:gd name="connsiteY273" fmla="*/ 511745 h 6858000"/>
              <a:gd name="connsiteX274" fmla="*/ 11330734 w 12191999"/>
              <a:gd name="connsiteY274" fmla="*/ 504052 h 6858000"/>
              <a:gd name="connsiteX275" fmla="*/ 11328166 w 12191999"/>
              <a:gd name="connsiteY275" fmla="*/ 491881 h 6858000"/>
              <a:gd name="connsiteX276" fmla="*/ 11335600 w 12191999"/>
              <a:gd name="connsiteY276" fmla="*/ 481879 h 6858000"/>
              <a:gd name="connsiteX277" fmla="*/ 11338297 w 12191999"/>
              <a:gd name="connsiteY277" fmla="*/ 470604 h 6858000"/>
              <a:gd name="connsiteX278" fmla="*/ 11349972 w 12191999"/>
              <a:gd name="connsiteY278" fmla="*/ 456124 h 6858000"/>
              <a:gd name="connsiteX279" fmla="*/ 11354455 w 12191999"/>
              <a:gd name="connsiteY279" fmla="*/ 453696 h 6858000"/>
              <a:gd name="connsiteX280" fmla="*/ 11324025 w 12191999"/>
              <a:gd name="connsiteY280" fmla="*/ 392924 h 6858000"/>
              <a:gd name="connsiteX281" fmla="*/ 11322134 w 12191999"/>
              <a:gd name="connsiteY281" fmla="*/ 400006 h 6858000"/>
              <a:gd name="connsiteX282" fmla="*/ 11335988 w 12191999"/>
              <a:gd name="connsiteY282" fmla="*/ 441536 h 6858000"/>
              <a:gd name="connsiteX283" fmla="*/ 11339193 w 12191999"/>
              <a:gd name="connsiteY283" fmla="*/ 451786 h 6858000"/>
              <a:gd name="connsiteX284" fmla="*/ 11328425 w 12191999"/>
              <a:gd name="connsiteY284" fmla="*/ 467162 h 6858000"/>
              <a:gd name="connsiteX285" fmla="*/ 11327270 w 12191999"/>
              <a:gd name="connsiteY285" fmla="*/ 474855 h 6858000"/>
              <a:gd name="connsiteX286" fmla="*/ 11315477 w 12191999"/>
              <a:gd name="connsiteY286" fmla="*/ 490748 h 6858000"/>
              <a:gd name="connsiteX287" fmla="*/ 11317268 w 12191999"/>
              <a:gd name="connsiteY287" fmla="*/ 503696 h 6858000"/>
              <a:gd name="connsiteX288" fmla="*/ 11327788 w 12191999"/>
              <a:gd name="connsiteY288" fmla="*/ 514594 h 6858000"/>
              <a:gd name="connsiteX289" fmla="*/ 11341890 w 12191999"/>
              <a:gd name="connsiteY289" fmla="*/ 516137 h 6858000"/>
              <a:gd name="connsiteX290" fmla="*/ 11358561 w 12191999"/>
              <a:gd name="connsiteY290" fmla="*/ 529214 h 6858000"/>
              <a:gd name="connsiteX291" fmla="*/ 11388308 w 12191999"/>
              <a:gd name="connsiteY291" fmla="*/ 580476 h 6858000"/>
              <a:gd name="connsiteX292" fmla="*/ 11394717 w 12191999"/>
              <a:gd name="connsiteY292" fmla="*/ 606490 h 6858000"/>
              <a:gd name="connsiteX293" fmla="*/ 11360611 w 12191999"/>
              <a:gd name="connsiteY293" fmla="*/ 709026 h 6858000"/>
              <a:gd name="connsiteX294" fmla="*/ 11362402 w 12191999"/>
              <a:gd name="connsiteY294" fmla="*/ 719406 h 6858000"/>
              <a:gd name="connsiteX295" fmla="*/ 11388567 w 12191999"/>
              <a:gd name="connsiteY295" fmla="*/ 719406 h 6858000"/>
              <a:gd name="connsiteX296" fmla="*/ 11394210 w 12191999"/>
              <a:gd name="connsiteY296" fmla="*/ 711972 h 6858000"/>
              <a:gd name="connsiteX297" fmla="*/ 11429094 w 12191999"/>
              <a:gd name="connsiteY297" fmla="*/ 608411 h 6858000"/>
              <a:gd name="connsiteX298" fmla="*/ 11464484 w 12191999"/>
              <a:gd name="connsiteY298" fmla="*/ 709921 h 6858000"/>
              <a:gd name="connsiteX299" fmla="*/ 11468207 w 12191999"/>
              <a:gd name="connsiteY299" fmla="*/ 719665 h 6858000"/>
              <a:gd name="connsiteX300" fmla="*/ 11490650 w 12191999"/>
              <a:gd name="connsiteY300" fmla="*/ 719665 h 6858000"/>
              <a:gd name="connsiteX301" fmla="*/ 11497954 w 12191999"/>
              <a:gd name="connsiteY301" fmla="*/ 713126 h 6858000"/>
              <a:gd name="connsiteX302" fmla="*/ 11473979 w 12191999"/>
              <a:gd name="connsiteY302" fmla="*/ 619309 h 6858000"/>
              <a:gd name="connsiteX303" fmla="*/ 11535276 w 12191999"/>
              <a:gd name="connsiteY303" fmla="*/ 595345 h 6858000"/>
              <a:gd name="connsiteX304" fmla="*/ 11569383 w 12191999"/>
              <a:gd name="connsiteY304" fmla="*/ 622136 h 6858000"/>
              <a:gd name="connsiteX305" fmla="*/ 11512315 w 12191999"/>
              <a:gd name="connsiteY305" fmla="*/ 709932 h 6858000"/>
              <a:gd name="connsiteX306" fmla="*/ 11514624 w 12191999"/>
              <a:gd name="connsiteY306" fmla="*/ 719417 h 6858000"/>
              <a:gd name="connsiteX307" fmla="*/ 11538351 w 12191999"/>
              <a:gd name="connsiteY307" fmla="*/ 719417 h 6858000"/>
              <a:gd name="connsiteX308" fmla="*/ 11547069 w 12191999"/>
              <a:gd name="connsiteY308" fmla="*/ 713903 h 6858000"/>
              <a:gd name="connsiteX309" fmla="*/ 11598623 w 12191999"/>
              <a:gd name="connsiteY309" fmla="*/ 630983 h 6858000"/>
              <a:gd name="connsiteX310" fmla="*/ 11608496 w 12191999"/>
              <a:gd name="connsiteY310" fmla="*/ 600869 h 6858000"/>
              <a:gd name="connsiteX311" fmla="*/ 11599130 w 12191999"/>
              <a:gd name="connsiteY311" fmla="*/ 710062 h 6858000"/>
              <a:gd name="connsiteX312" fmla="*/ 11601439 w 12191999"/>
              <a:gd name="connsiteY312" fmla="*/ 719287 h 6858000"/>
              <a:gd name="connsiteX313" fmla="*/ 11622857 w 12191999"/>
              <a:gd name="connsiteY313" fmla="*/ 719287 h 6858000"/>
              <a:gd name="connsiteX314" fmla="*/ 11629525 w 12191999"/>
              <a:gd name="connsiteY314" fmla="*/ 711087 h 6858000"/>
              <a:gd name="connsiteX315" fmla="*/ 11634650 w 12191999"/>
              <a:gd name="connsiteY315" fmla="*/ 693014 h 6858000"/>
              <a:gd name="connsiteX316" fmla="*/ 11654018 w 12191999"/>
              <a:gd name="connsiteY316" fmla="*/ 688018 h 6858000"/>
              <a:gd name="connsiteX317" fmla="*/ 11659024 w 12191999"/>
              <a:gd name="connsiteY317" fmla="*/ 680584 h 6858000"/>
              <a:gd name="connsiteX318" fmla="*/ 11654654 w 12191999"/>
              <a:gd name="connsiteY318" fmla="*/ 520852 h 6858000"/>
              <a:gd name="connsiteX319" fmla="*/ 11603360 w 12191999"/>
              <a:gd name="connsiteY319" fmla="*/ 487533 h 6858000"/>
              <a:gd name="connsiteX320" fmla="*/ 11526547 w 12191999"/>
              <a:gd name="connsiteY320" fmla="*/ 493424 h 6858000"/>
              <a:gd name="connsiteX321" fmla="*/ 11402033 w 12191999"/>
              <a:gd name="connsiteY321" fmla="*/ 464842 h 6858000"/>
              <a:gd name="connsiteX322" fmla="*/ 11401644 w 12191999"/>
              <a:gd name="connsiteY322" fmla="*/ 459199 h 6858000"/>
              <a:gd name="connsiteX323" fmla="*/ 11433960 w 12191999"/>
              <a:gd name="connsiteY323" fmla="*/ 433314 h 6858000"/>
              <a:gd name="connsiteX324" fmla="*/ 11431392 w 12191999"/>
              <a:gd name="connsiteY324" fmla="*/ 426398 h 6858000"/>
              <a:gd name="connsiteX325" fmla="*/ 11365995 w 12191999"/>
              <a:gd name="connsiteY325" fmla="*/ 438191 h 6858000"/>
              <a:gd name="connsiteX326" fmla="*/ 11327648 w 12191999"/>
              <a:gd name="connsiteY326" fmla="*/ 397567 h 6858000"/>
              <a:gd name="connsiteX327" fmla="*/ 11324025 w 12191999"/>
              <a:gd name="connsiteY327" fmla="*/ 392924 h 6858000"/>
              <a:gd name="connsiteX328" fmla="*/ 11391491 w 12191999"/>
              <a:gd name="connsiteY328" fmla="*/ 334037 h 6858000"/>
              <a:gd name="connsiteX329" fmla="*/ 11426364 w 12191999"/>
              <a:gd name="connsiteY329" fmla="*/ 368996 h 6858000"/>
              <a:gd name="connsiteX330" fmla="*/ 11391491 w 12191999"/>
              <a:gd name="connsiteY330" fmla="*/ 403955 h 6858000"/>
              <a:gd name="connsiteX331" fmla="*/ 11356360 w 12191999"/>
              <a:gd name="connsiteY331" fmla="*/ 368996 h 6858000"/>
              <a:gd name="connsiteX332" fmla="*/ 11391491 w 12191999"/>
              <a:gd name="connsiteY332" fmla="*/ 334037 h 6858000"/>
              <a:gd name="connsiteX333" fmla="*/ 11389959 w 12191999"/>
              <a:gd name="connsiteY333" fmla="*/ 321618 h 6858000"/>
              <a:gd name="connsiteX334" fmla="*/ 11337262 w 12191999"/>
              <a:gd name="connsiteY334" fmla="*/ 374510 h 6858000"/>
              <a:gd name="connsiteX335" fmla="*/ 11389959 w 12191999"/>
              <a:gd name="connsiteY335" fmla="*/ 427401 h 6858000"/>
              <a:gd name="connsiteX336" fmla="*/ 11442656 w 12191999"/>
              <a:gd name="connsiteY336" fmla="*/ 374510 h 6858000"/>
              <a:gd name="connsiteX337" fmla="*/ 11389959 w 12191999"/>
              <a:gd name="connsiteY337" fmla="*/ 321618 h 6858000"/>
              <a:gd name="connsiteX338" fmla="*/ 0 w 12191999"/>
              <a:gd name="connsiteY338" fmla="*/ 0 h 6858000"/>
              <a:gd name="connsiteX339" fmla="*/ 12191999 w 12191999"/>
              <a:gd name="connsiteY339" fmla="*/ 0 h 6858000"/>
              <a:gd name="connsiteX340" fmla="*/ 12191999 w 12191999"/>
              <a:gd name="connsiteY340" fmla="*/ 6858000 h 6858000"/>
              <a:gd name="connsiteX341" fmla="*/ 0 w 12191999"/>
              <a:gd name="connsiteY34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2191999" h="6858000">
                <a:moveTo>
                  <a:pt x="11666200" y="756760"/>
                </a:moveTo>
                <a:cubicBezTo>
                  <a:pt x="11673094" y="756760"/>
                  <a:pt x="11676288" y="758940"/>
                  <a:pt x="11678975" y="761119"/>
                </a:cubicBezTo>
                <a:cubicBezTo>
                  <a:pt x="11678975" y="808195"/>
                  <a:pt x="11678975" y="808195"/>
                  <a:pt x="11678975" y="808195"/>
                </a:cubicBezTo>
                <a:lnTo>
                  <a:pt x="11678845" y="808195"/>
                </a:lnTo>
                <a:cubicBezTo>
                  <a:pt x="11678845" y="811658"/>
                  <a:pt x="11673094" y="813579"/>
                  <a:pt x="11667095" y="813579"/>
                </a:cubicBezTo>
                <a:cubicBezTo>
                  <a:pt x="11654191" y="813579"/>
                  <a:pt x="11644998" y="802671"/>
                  <a:pt x="11644998" y="784080"/>
                </a:cubicBezTo>
                <a:cubicBezTo>
                  <a:pt x="11644998" y="767658"/>
                  <a:pt x="11653942" y="756760"/>
                  <a:pt x="11666200" y="756760"/>
                </a:cubicBezTo>
                <a:close/>
                <a:moveTo>
                  <a:pt x="11553608" y="755951"/>
                </a:moveTo>
                <a:cubicBezTo>
                  <a:pt x="11558334" y="755951"/>
                  <a:pt x="11561787" y="756976"/>
                  <a:pt x="11565369" y="760439"/>
                </a:cubicBezTo>
                <a:cubicBezTo>
                  <a:pt x="11569210" y="764032"/>
                  <a:pt x="11571638" y="771995"/>
                  <a:pt x="11571638" y="784954"/>
                </a:cubicBezTo>
                <a:cubicBezTo>
                  <a:pt x="11571638" y="797535"/>
                  <a:pt x="11569210" y="805746"/>
                  <a:pt x="11565369" y="809339"/>
                </a:cubicBezTo>
                <a:cubicBezTo>
                  <a:pt x="11561787" y="812802"/>
                  <a:pt x="11558334" y="813698"/>
                  <a:pt x="11553608" y="813698"/>
                </a:cubicBezTo>
                <a:cubicBezTo>
                  <a:pt x="11548882" y="813698"/>
                  <a:pt x="11545677" y="812802"/>
                  <a:pt x="11542106" y="809339"/>
                </a:cubicBezTo>
                <a:cubicBezTo>
                  <a:pt x="11538394" y="805746"/>
                  <a:pt x="11535837" y="797783"/>
                  <a:pt x="11535837" y="784954"/>
                </a:cubicBezTo>
                <a:cubicBezTo>
                  <a:pt x="11535837" y="772243"/>
                  <a:pt x="11538394" y="764032"/>
                  <a:pt x="11542106" y="760439"/>
                </a:cubicBezTo>
                <a:cubicBezTo>
                  <a:pt x="11545688" y="756976"/>
                  <a:pt x="11549141" y="755951"/>
                  <a:pt x="11553608" y="755951"/>
                </a:cubicBezTo>
                <a:close/>
                <a:moveTo>
                  <a:pt x="11389948" y="755951"/>
                </a:moveTo>
                <a:cubicBezTo>
                  <a:pt x="11394707" y="755951"/>
                  <a:pt x="11397911" y="756976"/>
                  <a:pt x="11401504" y="760439"/>
                </a:cubicBezTo>
                <a:cubicBezTo>
                  <a:pt x="11405356" y="764032"/>
                  <a:pt x="11407795" y="771995"/>
                  <a:pt x="11407795" y="784954"/>
                </a:cubicBezTo>
                <a:cubicBezTo>
                  <a:pt x="11407795" y="797535"/>
                  <a:pt x="11405356" y="805746"/>
                  <a:pt x="11401504" y="809339"/>
                </a:cubicBezTo>
                <a:cubicBezTo>
                  <a:pt x="11397911" y="812802"/>
                  <a:pt x="11394448" y="813698"/>
                  <a:pt x="11389948" y="813698"/>
                </a:cubicBezTo>
                <a:cubicBezTo>
                  <a:pt x="11385201" y="813698"/>
                  <a:pt x="11381985" y="812802"/>
                  <a:pt x="11378133" y="809339"/>
                </a:cubicBezTo>
                <a:cubicBezTo>
                  <a:pt x="11374411" y="805746"/>
                  <a:pt x="11371843" y="797783"/>
                  <a:pt x="11371843" y="784954"/>
                </a:cubicBezTo>
                <a:cubicBezTo>
                  <a:pt x="11371843" y="772243"/>
                  <a:pt x="11374411" y="764032"/>
                  <a:pt x="11378133" y="760439"/>
                </a:cubicBezTo>
                <a:cubicBezTo>
                  <a:pt x="11381726" y="756976"/>
                  <a:pt x="11385190" y="755951"/>
                  <a:pt x="11389948" y="755951"/>
                </a:cubicBezTo>
                <a:close/>
                <a:moveTo>
                  <a:pt x="11267462" y="755951"/>
                </a:moveTo>
                <a:cubicBezTo>
                  <a:pt x="11272210" y="755951"/>
                  <a:pt x="11275425" y="756976"/>
                  <a:pt x="11279148" y="760439"/>
                </a:cubicBezTo>
                <a:cubicBezTo>
                  <a:pt x="11282881" y="764032"/>
                  <a:pt x="11285438" y="771995"/>
                  <a:pt x="11285438" y="784954"/>
                </a:cubicBezTo>
                <a:cubicBezTo>
                  <a:pt x="11285438" y="797535"/>
                  <a:pt x="11283000" y="805746"/>
                  <a:pt x="11279148" y="809339"/>
                </a:cubicBezTo>
                <a:cubicBezTo>
                  <a:pt x="11275555" y="812802"/>
                  <a:pt x="11272210" y="813698"/>
                  <a:pt x="11267462" y="813698"/>
                </a:cubicBezTo>
                <a:cubicBezTo>
                  <a:pt x="11262715" y="813698"/>
                  <a:pt x="11259499" y="812802"/>
                  <a:pt x="11255907" y="809339"/>
                </a:cubicBezTo>
                <a:cubicBezTo>
                  <a:pt x="11252054" y="805746"/>
                  <a:pt x="11249616" y="797783"/>
                  <a:pt x="11249616" y="784954"/>
                </a:cubicBezTo>
                <a:cubicBezTo>
                  <a:pt x="11249616" y="772243"/>
                  <a:pt x="11252054" y="764032"/>
                  <a:pt x="11255907" y="760439"/>
                </a:cubicBezTo>
                <a:cubicBezTo>
                  <a:pt x="11259499" y="756976"/>
                  <a:pt x="11262844" y="755951"/>
                  <a:pt x="11267462" y="755951"/>
                </a:cubicBezTo>
                <a:close/>
                <a:moveTo>
                  <a:pt x="11708668" y="750005"/>
                </a:moveTo>
                <a:cubicBezTo>
                  <a:pt x="11706381" y="750005"/>
                  <a:pt x="11706381" y="750772"/>
                  <a:pt x="11706381" y="752433"/>
                </a:cubicBezTo>
                <a:cubicBezTo>
                  <a:pt x="11706381" y="817032"/>
                  <a:pt x="11706381" y="817032"/>
                  <a:pt x="11706381" y="817032"/>
                </a:cubicBezTo>
                <a:cubicBezTo>
                  <a:pt x="11706381" y="818952"/>
                  <a:pt x="11706381" y="819459"/>
                  <a:pt x="11708420" y="819459"/>
                </a:cubicBezTo>
                <a:cubicBezTo>
                  <a:pt x="11715671" y="819459"/>
                  <a:pt x="11715671" y="819459"/>
                  <a:pt x="11715671" y="819459"/>
                </a:cubicBezTo>
                <a:cubicBezTo>
                  <a:pt x="11717699" y="819330"/>
                  <a:pt x="11718206" y="819330"/>
                  <a:pt x="11718206" y="817032"/>
                </a:cubicBezTo>
                <a:cubicBezTo>
                  <a:pt x="11718206" y="752433"/>
                  <a:pt x="11718206" y="752433"/>
                  <a:pt x="11718206" y="752433"/>
                </a:cubicBezTo>
                <a:cubicBezTo>
                  <a:pt x="11718206" y="750383"/>
                  <a:pt x="11717699" y="750005"/>
                  <a:pt x="11715660" y="750005"/>
                </a:cubicBezTo>
                <a:cubicBezTo>
                  <a:pt x="11708668" y="750005"/>
                  <a:pt x="11708668" y="750005"/>
                  <a:pt x="11708668" y="750005"/>
                </a:cubicBezTo>
                <a:close/>
                <a:moveTo>
                  <a:pt x="11826514" y="749671"/>
                </a:moveTo>
                <a:cubicBezTo>
                  <a:pt x="11824076" y="749671"/>
                  <a:pt x="11823170" y="749542"/>
                  <a:pt x="11822404" y="751851"/>
                </a:cubicBezTo>
                <a:cubicBezTo>
                  <a:pt x="11818552" y="763374"/>
                  <a:pt x="11808647" y="775804"/>
                  <a:pt x="11798623" y="781695"/>
                </a:cubicBezTo>
                <a:cubicBezTo>
                  <a:pt x="11798234" y="782084"/>
                  <a:pt x="11798105" y="782461"/>
                  <a:pt x="11798105" y="782461"/>
                </a:cubicBezTo>
                <a:cubicBezTo>
                  <a:pt x="11798105" y="782591"/>
                  <a:pt x="11798234" y="782968"/>
                  <a:pt x="11798234" y="783227"/>
                </a:cubicBezTo>
                <a:cubicBezTo>
                  <a:pt x="11822145" y="817420"/>
                  <a:pt x="11822145" y="817420"/>
                  <a:pt x="11822145" y="817420"/>
                </a:cubicBezTo>
                <a:cubicBezTo>
                  <a:pt x="11823558" y="819470"/>
                  <a:pt x="11824076" y="819470"/>
                  <a:pt x="11826126" y="819470"/>
                </a:cubicBezTo>
                <a:cubicBezTo>
                  <a:pt x="11835254" y="819470"/>
                  <a:pt x="11835254" y="819470"/>
                  <a:pt x="11835254" y="819470"/>
                </a:cubicBezTo>
                <a:cubicBezTo>
                  <a:pt x="11835891" y="819330"/>
                  <a:pt x="11837175" y="819330"/>
                  <a:pt x="11837175" y="817798"/>
                </a:cubicBezTo>
                <a:cubicBezTo>
                  <a:pt x="11837175" y="817291"/>
                  <a:pt x="11836786" y="816643"/>
                  <a:pt x="11836279" y="816136"/>
                </a:cubicBezTo>
                <a:cubicBezTo>
                  <a:pt x="11810826" y="782450"/>
                  <a:pt x="11810826" y="782450"/>
                  <a:pt x="11810826" y="782450"/>
                </a:cubicBezTo>
                <a:cubicBezTo>
                  <a:pt x="11810567" y="782192"/>
                  <a:pt x="11810567" y="782192"/>
                  <a:pt x="11810567" y="782192"/>
                </a:cubicBezTo>
                <a:cubicBezTo>
                  <a:pt x="11819566" y="775534"/>
                  <a:pt x="11828824" y="765154"/>
                  <a:pt x="11834607" y="753890"/>
                </a:cubicBezTo>
                <a:cubicBezTo>
                  <a:pt x="11835125" y="752606"/>
                  <a:pt x="11835254" y="751969"/>
                  <a:pt x="11835254" y="751203"/>
                </a:cubicBezTo>
                <a:cubicBezTo>
                  <a:pt x="11835254" y="750049"/>
                  <a:pt x="11834607" y="749671"/>
                  <a:pt x="11832816" y="749671"/>
                </a:cubicBezTo>
                <a:cubicBezTo>
                  <a:pt x="11826514" y="749671"/>
                  <a:pt x="11826514" y="749671"/>
                  <a:pt x="11826514" y="749671"/>
                </a:cubicBezTo>
                <a:close/>
                <a:moveTo>
                  <a:pt x="11301634" y="749671"/>
                </a:moveTo>
                <a:cubicBezTo>
                  <a:pt x="11301116" y="749671"/>
                  <a:pt x="11299832" y="749671"/>
                  <a:pt x="11299832" y="751462"/>
                </a:cubicBezTo>
                <a:cubicBezTo>
                  <a:pt x="11299832" y="751980"/>
                  <a:pt x="11299961" y="752617"/>
                  <a:pt x="11300350" y="753383"/>
                </a:cubicBezTo>
                <a:cubicBezTo>
                  <a:pt x="11324605" y="817399"/>
                  <a:pt x="11324605" y="817399"/>
                  <a:pt x="11324605" y="817399"/>
                </a:cubicBezTo>
                <a:cubicBezTo>
                  <a:pt x="11325371" y="818941"/>
                  <a:pt x="11325630" y="819449"/>
                  <a:pt x="11326785" y="819449"/>
                </a:cubicBezTo>
                <a:cubicBezTo>
                  <a:pt x="11332050" y="819449"/>
                  <a:pt x="11332050" y="819449"/>
                  <a:pt x="11332050" y="819449"/>
                </a:cubicBezTo>
                <a:cubicBezTo>
                  <a:pt x="11333593" y="819449"/>
                  <a:pt x="11333971" y="819190"/>
                  <a:pt x="11334489" y="817399"/>
                </a:cubicBezTo>
                <a:cubicBezTo>
                  <a:pt x="11358108" y="753135"/>
                  <a:pt x="11358108" y="753135"/>
                  <a:pt x="11358108" y="753135"/>
                </a:cubicBezTo>
                <a:cubicBezTo>
                  <a:pt x="11358366" y="751592"/>
                  <a:pt x="11358366" y="751462"/>
                  <a:pt x="11358366" y="751085"/>
                </a:cubicBezTo>
                <a:cubicBezTo>
                  <a:pt x="11358366" y="749671"/>
                  <a:pt x="11357341" y="749671"/>
                  <a:pt x="11356694" y="749671"/>
                </a:cubicBezTo>
                <a:cubicBezTo>
                  <a:pt x="11350015" y="749671"/>
                  <a:pt x="11350015" y="749671"/>
                  <a:pt x="11350015" y="749671"/>
                </a:cubicBezTo>
                <a:cubicBezTo>
                  <a:pt x="11349120" y="749930"/>
                  <a:pt x="11348990" y="750308"/>
                  <a:pt x="11348343" y="751592"/>
                </a:cubicBezTo>
                <a:cubicBezTo>
                  <a:pt x="11330885" y="802908"/>
                  <a:pt x="11330885" y="802908"/>
                  <a:pt x="11330885" y="802908"/>
                </a:cubicBezTo>
                <a:cubicBezTo>
                  <a:pt x="11312920" y="751851"/>
                  <a:pt x="11312920" y="751851"/>
                  <a:pt x="11312920" y="751851"/>
                </a:cubicBezTo>
                <a:cubicBezTo>
                  <a:pt x="11312154" y="749930"/>
                  <a:pt x="11311895" y="749671"/>
                  <a:pt x="11309845" y="749671"/>
                </a:cubicBezTo>
                <a:cubicBezTo>
                  <a:pt x="11301634" y="749671"/>
                  <a:pt x="11301634" y="749671"/>
                  <a:pt x="11301634" y="749671"/>
                </a:cubicBezTo>
                <a:close/>
                <a:moveTo>
                  <a:pt x="11754223" y="748506"/>
                </a:moveTo>
                <a:cubicBezTo>
                  <a:pt x="11742149" y="748506"/>
                  <a:pt x="11731241" y="755185"/>
                  <a:pt x="11731241" y="767625"/>
                </a:cubicBezTo>
                <a:cubicBezTo>
                  <a:pt x="11731241" y="779300"/>
                  <a:pt x="11739462" y="784177"/>
                  <a:pt x="11749346" y="788417"/>
                </a:cubicBezTo>
                <a:cubicBezTo>
                  <a:pt x="11757050" y="791622"/>
                  <a:pt x="11764236" y="794708"/>
                  <a:pt x="11764236" y="801894"/>
                </a:cubicBezTo>
                <a:cubicBezTo>
                  <a:pt x="11764236" y="807407"/>
                  <a:pt x="11759866" y="813698"/>
                  <a:pt x="11750500" y="813698"/>
                </a:cubicBezTo>
                <a:cubicBezTo>
                  <a:pt x="11740995" y="813698"/>
                  <a:pt x="11738308" y="806641"/>
                  <a:pt x="11733679" y="806641"/>
                </a:cubicBezTo>
                <a:cubicBezTo>
                  <a:pt x="11731500" y="806641"/>
                  <a:pt x="11728673" y="807666"/>
                  <a:pt x="11728673" y="811130"/>
                </a:cubicBezTo>
                <a:cubicBezTo>
                  <a:pt x="11728673" y="816643"/>
                  <a:pt x="11739462" y="821402"/>
                  <a:pt x="11750241" y="821402"/>
                </a:cubicBezTo>
                <a:cubicBezTo>
                  <a:pt x="11762434" y="821531"/>
                  <a:pt x="11774896" y="815111"/>
                  <a:pt x="11774896" y="800610"/>
                </a:cubicBezTo>
                <a:cubicBezTo>
                  <a:pt x="11774896" y="777897"/>
                  <a:pt x="11741901" y="781490"/>
                  <a:pt x="11741901" y="766471"/>
                </a:cubicBezTo>
                <a:cubicBezTo>
                  <a:pt x="11741901" y="761335"/>
                  <a:pt x="11745882" y="756199"/>
                  <a:pt x="11753457" y="756199"/>
                </a:cubicBezTo>
                <a:cubicBezTo>
                  <a:pt x="11761290" y="756199"/>
                  <a:pt x="11763340" y="761335"/>
                  <a:pt x="11767322" y="761335"/>
                </a:cubicBezTo>
                <a:cubicBezTo>
                  <a:pt x="11769372" y="761335"/>
                  <a:pt x="11772328" y="760180"/>
                  <a:pt x="11772328" y="756587"/>
                </a:cubicBezTo>
                <a:cubicBezTo>
                  <a:pt x="11772328" y="751452"/>
                  <a:pt x="11763599" y="748506"/>
                  <a:pt x="11754223" y="748506"/>
                </a:cubicBezTo>
                <a:close/>
                <a:moveTo>
                  <a:pt x="11614257" y="748117"/>
                </a:moveTo>
                <a:cubicBezTo>
                  <a:pt x="11607082" y="748117"/>
                  <a:pt x="11602594" y="749272"/>
                  <a:pt x="11599001" y="750167"/>
                </a:cubicBezTo>
                <a:cubicBezTo>
                  <a:pt x="11594383" y="751322"/>
                  <a:pt x="11592721" y="753491"/>
                  <a:pt x="11592721" y="755659"/>
                </a:cubicBezTo>
                <a:cubicBezTo>
                  <a:pt x="11592721" y="816902"/>
                  <a:pt x="11592721" y="816902"/>
                  <a:pt x="11592721" y="816902"/>
                </a:cubicBezTo>
                <a:cubicBezTo>
                  <a:pt x="11592721" y="818952"/>
                  <a:pt x="11593487" y="819071"/>
                  <a:pt x="11595418" y="819071"/>
                </a:cubicBezTo>
                <a:cubicBezTo>
                  <a:pt x="11602216" y="819071"/>
                  <a:pt x="11602216" y="819071"/>
                  <a:pt x="11602216" y="819071"/>
                </a:cubicBezTo>
                <a:cubicBezTo>
                  <a:pt x="11603878" y="819071"/>
                  <a:pt x="11604654" y="818942"/>
                  <a:pt x="11604654" y="816902"/>
                </a:cubicBezTo>
                <a:cubicBezTo>
                  <a:pt x="11604654" y="760774"/>
                  <a:pt x="11604654" y="760774"/>
                  <a:pt x="11604654" y="760774"/>
                </a:cubicBezTo>
                <a:cubicBezTo>
                  <a:pt x="11604654" y="757192"/>
                  <a:pt x="11607471" y="754764"/>
                  <a:pt x="11611452" y="754764"/>
                </a:cubicBezTo>
                <a:cubicBezTo>
                  <a:pt x="11620041" y="754764"/>
                  <a:pt x="11621325" y="761033"/>
                  <a:pt x="11625943" y="761033"/>
                </a:cubicBezTo>
                <a:cubicBezTo>
                  <a:pt x="11629255" y="761162"/>
                  <a:pt x="11631823" y="759112"/>
                  <a:pt x="11631823" y="755152"/>
                </a:cubicBezTo>
                <a:cubicBezTo>
                  <a:pt x="11631823" y="750167"/>
                  <a:pt x="11623623" y="748117"/>
                  <a:pt x="11614257" y="748117"/>
                </a:cubicBezTo>
                <a:close/>
                <a:moveTo>
                  <a:pt x="11553619" y="748117"/>
                </a:moveTo>
                <a:cubicBezTo>
                  <a:pt x="11547609" y="748117"/>
                  <a:pt x="11541221" y="749919"/>
                  <a:pt x="11536236" y="753124"/>
                </a:cubicBezTo>
                <a:cubicBezTo>
                  <a:pt x="11528565" y="758519"/>
                  <a:pt x="11523450" y="768780"/>
                  <a:pt x="11523450" y="784954"/>
                </a:cubicBezTo>
                <a:cubicBezTo>
                  <a:pt x="11523450" y="800998"/>
                  <a:pt x="11528565" y="811270"/>
                  <a:pt x="11536236" y="816654"/>
                </a:cubicBezTo>
                <a:cubicBezTo>
                  <a:pt x="11540962" y="819988"/>
                  <a:pt x="11547490" y="821531"/>
                  <a:pt x="11553619" y="821531"/>
                </a:cubicBezTo>
                <a:cubicBezTo>
                  <a:pt x="11559888" y="821531"/>
                  <a:pt x="11566275" y="819859"/>
                  <a:pt x="11571001" y="816654"/>
                </a:cubicBezTo>
                <a:cubicBezTo>
                  <a:pt x="11578802" y="811259"/>
                  <a:pt x="11583917" y="800998"/>
                  <a:pt x="11583917" y="784954"/>
                </a:cubicBezTo>
                <a:cubicBezTo>
                  <a:pt x="11583917" y="768780"/>
                  <a:pt x="11578802" y="758519"/>
                  <a:pt x="11571001" y="753124"/>
                </a:cubicBezTo>
                <a:cubicBezTo>
                  <a:pt x="11566146" y="749660"/>
                  <a:pt x="11559747" y="748117"/>
                  <a:pt x="11553619" y="748117"/>
                </a:cubicBezTo>
                <a:close/>
                <a:moveTo>
                  <a:pt x="11486031" y="748117"/>
                </a:moveTo>
                <a:cubicBezTo>
                  <a:pt x="11475824" y="748117"/>
                  <a:pt x="11468930" y="750297"/>
                  <a:pt x="11465229" y="751452"/>
                </a:cubicBezTo>
                <a:cubicBezTo>
                  <a:pt x="11460632" y="752994"/>
                  <a:pt x="11459230" y="754656"/>
                  <a:pt x="11459230" y="756965"/>
                </a:cubicBezTo>
                <a:cubicBezTo>
                  <a:pt x="11459230" y="817010"/>
                  <a:pt x="11459230" y="817010"/>
                  <a:pt x="11459230" y="817010"/>
                </a:cubicBezTo>
                <a:cubicBezTo>
                  <a:pt x="11459230" y="819190"/>
                  <a:pt x="11459737" y="819449"/>
                  <a:pt x="11461787" y="819449"/>
                </a:cubicBezTo>
                <a:cubicBezTo>
                  <a:pt x="11468422" y="819449"/>
                  <a:pt x="11468422" y="819449"/>
                  <a:pt x="11468422" y="819449"/>
                </a:cubicBezTo>
                <a:cubicBezTo>
                  <a:pt x="11470332" y="819449"/>
                  <a:pt x="11471228" y="819190"/>
                  <a:pt x="11471228" y="816751"/>
                </a:cubicBezTo>
                <a:cubicBezTo>
                  <a:pt x="11471228" y="761454"/>
                  <a:pt x="11471228" y="761454"/>
                  <a:pt x="11471228" y="761454"/>
                </a:cubicBezTo>
                <a:cubicBezTo>
                  <a:pt x="11471228" y="758497"/>
                  <a:pt x="11476331" y="755422"/>
                  <a:pt x="11485654" y="755422"/>
                </a:cubicBezTo>
                <a:cubicBezTo>
                  <a:pt x="11501223" y="755422"/>
                  <a:pt x="11501223" y="765554"/>
                  <a:pt x="11501223" y="771844"/>
                </a:cubicBezTo>
                <a:cubicBezTo>
                  <a:pt x="11501223" y="816751"/>
                  <a:pt x="11501223" y="816751"/>
                  <a:pt x="11501223" y="816751"/>
                </a:cubicBezTo>
                <a:cubicBezTo>
                  <a:pt x="11501223" y="819190"/>
                  <a:pt x="11501990" y="819449"/>
                  <a:pt x="11504288" y="819449"/>
                </a:cubicBezTo>
                <a:cubicBezTo>
                  <a:pt x="11511690" y="819449"/>
                  <a:pt x="11511690" y="819449"/>
                  <a:pt x="11511690" y="819449"/>
                </a:cubicBezTo>
                <a:cubicBezTo>
                  <a:pt x="11512963" y="819201"/>
                  <a:pt x="11512963" y="817917"/>
                  <a:pt x="11512963" y="816762"/>
                </a:cubicBezTo>
                <a:cubicBezTo>
                  <a:pt x="11512963" y="770312"/>
                  <a:pt x="11512963" y="770312"/>
                  <a:pt x="11512963" y="770312"/>
                </a:cubicBezTo>
                <a:cubicBezTo>
                  <a:pt x="11512963" y="762230"/>
                  <a:pt x="11512704" y="748117"/>
                  <a:pt x="11486031" y="748117"/>
                </a:cubicBezTo>
                <a:close/>
                <a:moveTo>
                  <a:pt x="11389700" y="748117"/>
                </a:moveTo>
                <a:cubicBezTo>
                  <a:pt x="11383539" y="748117"/>
                  <a:pt x="11377249" y="749919"/>
                  <a:pt x="11372242" y="753124"/>
                </a:cubicBezTo>
                <a:cubicBezTo>
                  <a:pt x="11364538" y="758519"/>
                  <a:pt x="11359402" y="768780"/>
                  <a:pt x="11359402" y="784954"/>
                </a:cubicBezTo>
                <a:cubicBezTo>
                  <a:pt x="11359402" y="800998"/>
                  <a:pt x="11364538" y="811270"/>
                  <a:pt x="11372242" y="816654"/>
                </a:cubicBezTo>
                <a:cubicBezTo>
                  <a:pt x="11376990" y="819988"/>
                  <a:pt x="11383539" y="821531"/>
                  <a:pt x="11389700" y="821531"/>
                </a:cubicBezTo>
                <a:cubicBezTo>
                  <a:pt x="11395990" y="821531"/>
                  <a:pt x="11402281" y="819859"/>
                  <a:pt x="11407158" y="816654"/>
                </a:cubicBezTo>
                <a:cubicBezTo>
                  <a:pt x="11414991" y="811259"/>
                  <a:pt x="11420127" y="800998"/>
                  <a:pt x="11420127" y="784954"/>
                </a:cubicBezTo>
                <a:cubicBezTo>
                  <a:pt x="11420127" y="768780"/>
                  <a:pt x="11414991" y="758519"/>
                  <a:pt x="11407158" y="753124"/>
                </a:cubicBezTo>
                <a:cubicBezTo>
                  <a:pt x="11402540" y="749660"/>
                  <a:pt x="11395990" y="748117"/>
                  <a:pt x="11389700" y="748117"/>
                </a:cubicBezTo>
                <a:close/>
                <a:moveTo>
                  <a:pt x="11267473" y="748117"/>
                </a:moveTo>
                <a:cubicBezTo>
                  <a:pt x="11261312" y="748117"/>
                  <a:pt x="11254892" y="749919"/>
                  <a:pt x="11250015" y="753124"/>
                </a:cubicBezTo>
                <a:cubicBezTo>
                  <a:pt x="11242182" y="758519"/>
                  <a:pt x="11237046" y="768780"/>
                  <a:pt x="11237046" y="784954"/>
                </a:cubicBezTo>
                <a:cubicBezTo>
                  <a:pt x="11237046" y="800998"/>
                  <a:pt x="11242182" y="811270"/>
                  <a:pt x="11250015" y="816654"/>
                </a:cubicBezTo>
                <a:cubicBezTo>
                  <a:pt x="11254763" y="819988"/>
                  <a:pt x="11261183" y="821531"/>
                  <a:pt x="11267473" y="821531"/>
                </a:cubicBezTo>
                <a:cubicBezTo>
                  <a:pt x="11273764" y="821531"/>
                  <a:pt x="11279925" y="819859"/>
                  <a:pt x="11284931" y="816654"/>
                </a:cubicBezTo>
                <a:cubicBezTo>
                  <a:pt x="11292635" y="811259"/>
                  <a:pt x="11297771" y="800998"/>
                  <a:pt x="11297771" y="784954"/>
                </a:cubicBezTo>
                <a:cubicBezTo>
                  <a:pt x="11297771" y="768780"/>
                  <a:pt x="11292635" y="758519"/>
                  <a:pt x="11284931" y="753124"/>
                </a:cubicBezTo>
                <a:cubicBezTo>
                  <a:pt x="11279925" y="749660"/>
                  <a:pt x="11273764" y="748117"/>
                  <a:pt x="11267473" y="748117"/>
                </a:cubicBezTo>
                <a:close/>
                <a:moveTo>
                  <a:pt x="11199756" y="748117"/>
                </a:moveTo>
                <a:cubicBezTo>
                  <a:pt x="11189495" y="748117"/>
                  <a:pt x="11182698" y="750297"/>
                  <a:pt x="11178857" y="751452"/>
                </a:cubicBezTo>
                <a:cubicBezTo>
                  <a:pt x="11174368" y="752994"/>
                  <a:pt x="11172825" y="754656"/>
                  <a:pt x="11172825" y="756965"/>
                </a:cubicBezTo>
                <a:cubicBezTo>
                  <a:pt x="11172825" y="817010"/>
                  <a:pt x="11172825" y="817010"/>
                  <a:pt x="11172825" y="817010"/>
                </a:cubicBezTo>
                <a:cubicBezTo>
                  <a:pt x="11172825" y="819190"/>
                  <a:pt x="11173343" y="819449"/>
                  <a:pt x="11175263" y="819449"/>
                </a:cubicBezTo>
                <a:cubicBezTo>
                  <a:pt x="11181932" y="819449"/>
                  <a:pt x="11181932" y="819449"/>
                  <a:pt x="11181932" y="819449"/>
                </a:cubicBezTo>
                <a:cubicBezTo>
                  <a:pt x="11183852" y="819449"/>
                  <a:pt x="11184748" y="819190"/>
                  <a:pt x="11184748" y="816751"/>
                </a:cubicBezTo>
                <a:cubicBezTo>
                  <a:pt x="11184748" y="761454"/>
                  <a:pt x="11184748" y="761454"/>
                  <a:pt x="11184748" y="761454"/>
                </a:cubicBezTo>
                <a:cubicBezTo>
                  <a:pt x="11184748" y="758497"/>
                  <a:pt x="11189873" y="755422"/>
                  <a:pt x="11199238" y="755422"/>
                </a:cubicBezTo>
                <a:cubicBezTo>
                  <a:pt x="11214884" y="755422"/>
                  <a:pt x="11214884" y="765554"/>
                  <a:pt x="11214884" y="771844"/>
                </a:cubicBezTo>
                <a:cubicBezTo>
                  <a:pt x="11214884" y="816751"/>
                  <a:pt x="11214884" y="816751"/>
                  <a:pt x="11214884" y="816751"/>
                </a:cubicBezTo>
                <a:cubicBezTo>
                  <a:pt x="11214884" y="819190"/>
                  <a:pt x="11215650" y="819449"/>
                  <a:pt x="11217959" y="819449"/>
                </a:cubicBezTo>
                <a:cubicBezTo>
                  <a:pt x="11225393" y="819449"/>
                  <a:pt x="11225393" y="819449"/>
                  <a:pt x="11225393" y="819449"/>
                </a:cubicBezTo>
                <a:cubicBezTo>
                  <a:pt x="11226688" y="819201"/>
                  <a:pt x="11226817" y="817917"/>
                  <a:pt x="11226817" y="816762"/>
                </a:cubicBezTo>
                <a:cubicBezTo>
                  <a:pt x="11226817" y="770312"/>
                  <a:pt x="11226817" y="770312"/>
                  <a:pt x="11226817" y="770312"/>
                </a:cubicBezTo>
                <a:cubicBezTo>
                  <a:pt x="11226817" y="762230"/>
                  <a:pt x="11226688" y="748117"/>
                  <a:pt x="11199756" y="748117"/>
                </a:cubicBezTo>
                <a:close/>
                <a:moveTo>
                  <a:pt x="11681273" y="724801"/>
                </a:moveTo>
                <a:cubicBezTo>
                  <a:pt x="11678975" y="724801"/>
                  <a:pt x="11678845" y="725567"/>
                  <a:pt x="11678845" y="727876"/>
                </a:cubicBezTo>
                <a:cubicBezTo>
                  <a:pt x="11678845" y="752250"/>
                  <a:pt x="11678845" y="752250"/>
                  <a:pt x="11678845" y="752250"/>
                </a:cubicBezTo>
                <a:cubicBezTo>
                  <a:pt x="11674626" y="750070"/>
                  <a:pt x="11670537" y="748527"/>
                  <a:pt x="11664279" y="748527"/>
                </a:cubicBezTo>
                <a:cubicBezTo>
                  <a:pt x="11643455" y="748527"/>
                  <a:pt x="11632848" y="768413"/>
                  <a:pt x="11632848" y="784954"/>
                </a:cubicBezTo>
                <a:cubicBezTo>
                  <a:pt x="11632848" y="809587"/>
                  <a:pt x="11646260" y="821510"/>
                  <a:pt x="11666707" y="821510"/>
                </a:cubicBezTo>
                <a:cubicBezTo>
                  <a:pt x="11676547" y="821531"/>
                  <a:pt x="11690477" y="816654"/>
                  <a:pt x="11690477" y="812036"/>
                </a:cubicBezTo>
                <a:cubicBezTo>
                  <a:pt x="11690477" y="727498"/>
                  <a:pt x="11690477" y="727498"/>
                  <a:pt x="11690477" y="727498"/>
                </a:cubicBezTo>
                <a:cubicBezTo>
                  <a:pt x="11690477" y="724930"/>
                  <a:pt x="11689711" y="724801"/>
                  <a:pt x="11687919" y="724801"/>
                </a:cubicBezTo>
                <a:cubicBezTo>
                  <a:pt x="11681273" y="724801"/>
                  <a:pt x="11681273" y="724801"/>
                  <a:pt x="11681273" y="724801"/>
                </a:cubicBezTo>
                <a:close/>
                <a:moveTo>
                  <a:pt x="11786797" y="724552"/>
                </a:moveTo>
                <a:cubicBezTo>
                  <a:pt x="11785384" y="724552"/>
                  <a:pt x="11784607" y="724811"/>
                  <a:pt x="11784607" y="726732"/>
                </a:cubicBezTo>
                <a:cubicBezTo>
                  <a:pt x="11784607" y="817280"/>
                  <a:pt x="11784607" y="817280"/>
                  <a:pt x="11784607" y="817280"/>
                </a:cubicBezTo>
                <a:cubicBezTo>
                  <a:pt x="11784607" y="819071"/>
                  <a:pt x="11784995" y="819330"/>
                  <a:pt x="11786797" y="819330"/>
                </a:cubicBezTo>
                <a:cubicBezTo>
                  <a:pt x="11793864" y="819330"/>
                  <a:pt x="11793864" y="819330"/>
                  <a:pt x="11793864" y="819330"/>
                </a:cubicBezTo>
                <a:cubicBezTo>
                  <a:pt x="11795526" y="819330"/>
                  <a:pt x="11796303" y="819330"/>
                  <a:pt x="11796303" y="817409"/>
                </a:cubicBezTo>
                <a:cubicBezTo>
                  <a:pt x="11796303" y="726473"/>
                  <a:pt x="11796303" y="726473"/>
                  <a:pt x="11796303" y="726473"/>
                </a:cubicBezTo>
                <a:cubicBezTo>
                  <a:pt x="11796303" y="724552"/>
                  <a:pt x="11795407" y="724552"/>
                  <a:pt x="11793864" y="724552"/>
                </a:cubicBezTo>
                <a:cubicBezTo>
                  <a:pt x="11786797" y="724552"/>
                  <a:pt x="11786797" y="724552"/>
                  <a:pt x="11786797" y="724552"/>
                </a:cubicBezTo>
                <a:close/>
                <a:moveTo>
                  <a:pt x="11712617" y="723776"/>
                </a:moveTo>
                <a:cubicBezTo>
                  <a:pt x="11708291" y="723776"/>
                  <a:pt x="11705237" y="726851"/>
                  <a:pt x="11705237" y="730940"/>
                </a:cubicBezTo>
                <a:cubicBezTo>
                  <a:pt x="11705237" y="734781"/>
                  <a:pt x="11707913" y="737975"/>
                  <a:pt x="11712358" y="737975"/>
                </a:cubicBezTo>
                <a:cubicBezTo>
                  <a:pt x="11716933" y="737845"/>
                  <a:pt x="11719739" y="734263"/>
                  <a:pt x="11719609" y="730433"/>
                </a:cubicBezTo>
                <a:cubicBezTo>
                  <a:pt x="11719350" y="726462"/>
                  <a:pt x="11716178" y="723776"/>
                  <a:pt x="11712617" y="723776"/>
                </a:cubicBezTo>
                <a:close/>
                <a:moveTo>
                  <a:pt x="11855021" y="713601"/>
                </a:moveTo>
                <a:lnTo>
                  <a:pt x="11855284" y="713794"/>
                </a:lnTo>
                <a:lnTo>
                  <a:pt x="11855021" y="713860"/>
                </a:lnTo>
                <a:cubicBezTo>
                  <a:pt x="11855021" y="713860"/>
                  <a:pt x="11855021" y="713860"/>
                  <a:pt x="11855021" y="713601"/>
                </a:cubicBezTo>
                <a:close/>
                <a:moveTo>
                  <a:pt x="11847209" y="704235"/>
                </a:moveTo>
                <a:cubicBezTo>
                  <a:pt x="11851428" y="704235"/>
                  <a:pt x="11851428" y="704235"/>
                  <a:pt x="11851428" y="704235"/>
                </a:cubicBezTo>
                <a:cubicBezTo>
                  <a:pt x="11853608" y="704235"/>
                  <a:pt x="11857190" y="704235"/>
                  <a:pt x="11857190" y="707699"/>
                </a:cubicBezTo>
                <a:cubicBezTo>
                  <a:pt x="11857190" y="711162"/>
                  <a:pt x="11853478" y="711162"/>
                  <a:pt x="11851817" y="711162"/>
                </a:cubicBezTo>
                <a:cubicBezTo>
                  <a:pt x="11847209" y="711162"/>
                  <a:pt x="11847209" y="711162"/>
                  <a:pt x="11847209" y="711162"/>
                </a:cubicBezTo>
                <a:close/>
                <a:moveTo>
                  <a:pt x="11843627" y="701020"/>
                </a:moveTo>
                <a:lnTo>
                  <a:pt x="11843627" y="724250"/>
                </a:lnTo>
                <a:cubicBezTo>
                  <a:pt x="11847468" y="724250"/>
                  <a:pt x="11847468" y="724250"/>
                  <a:pt x="11847468" y="724250"/>
                </a:cubicBezTo>
                <a:cubicBezTo>
                  <a:pt x="11847468" y="714367"/>
                  <a:pt x="11847468" y="714367"/>
                  <a:pt x="11847468" y="714367"/>
                </a:cubicBezTo>
                <a:cubicBezTo>
                  <a:pt x="11849648" y="714367"/>
                  <a:pt x="11849648" y="714367"/>
                  <a:pt x="11849648" y="714367"/>
                </a:cubicBezTo>
                <a:cubicBezTo>
                  <a:pt x="11852723" y="714367"/>
                  <a:pt x="11853867" y="715521"/>
                  <a:pt x="11856553" y="720528"/>
                </a:cubicBezTo>
                <a:cubicBezTo>
                  <a:pt x="11858603" y="724121"/>
                  <a:pt x="11858603" y="724121"/>
                  <a:pt x="11858603" y="724121"/>
                </a:cubicBezTo>
                <a:cubicBezTo>
                  <a:pt x="11863081" y="724121"/>
                  <a:pt x="11863081" y="724121"/>
                  <a:pt x="11863081" y="724121"/>
                </a:cubicBezTo>
                <a:cubicBezTo>
                  <a:pt x="11860265" y="719503"/>
                  <a:pt x="11860265" y="719503"/>
                  <a:pt x="11860265" y="719503"/>
                </a:cubicBezTo>
                <a:cubicBezTo>
                  <a:pt x="11858857" y="717258"/>
                  <a:pt x="11857864" y="715942"/>
                  <a:pt x="11857064" y="715107"/>
                </a:cubicBezTo>
                <a:lnTo>
                  <a:pt x="11855284" y="713794"/>
                </a:lnTo>
                <a:lnTo>
                  <a:pt x="11858039" y="713107"/>
                </a:lnTo>
                <a:cubicBezTo>
                  <a:pt x="11860542" y="711860"/>
                  <a:pt x="11861549" y="709333"/>
                  <a:pt x="11861549" y="707310"/>
                </a:cubicBezTo>
                <a:cubicBezTo>
                  <a:pt x="11861549" y="705390"/>
                  <a:pt x="11860653" y="703717"/>
                  <a:pt x="11859370" y="702822"/>
                </a:cubicBezTo>
                <a:cubicBezTo>
                  <a:pt x="11857449" y="701020"/>
                  <a:pt x="11854385" y="701020"/>
                  <a:pt x="11851817" y="701020"/>
                </a:cubicBezTo>
                <a:cubicBezTo>
                  <a:pt x="11843627" y="701020"/>
                  <a:pt x="11843627" y="701020"/>
                  <a:pt x="11843627" y="701020"/>
                </a:cubicBezTo>
                <a:close/>
                <a:moveTo>
                  <a:pt x="11852712" y="694611"/>
                </a:moveTo>
                <a:cubicBezTo>
                  <a:pt x="11862563" y="694611"/>
                  <a:pt x="11870623" y="702563"/>
                  <a:pt x="11870623" y="712446"/>
                </a:cubicBezTo>
                <a:cubicBezTo>
                  <a:pt x="11870623" y="722330"/>
                  <a:pt x="11862693" y="730541"/>
                  <a:pt x="11852712" y="730541"/>
                </a:cubicBezTo>
                <a:cubicBezTo>
                  <a:pt x="11842861" y="730541"/>
                  <a:pt x="11834931" y="722330"/>
                  <a:pt x="11834931" y="712446"/>
                </a:cubicBezTo>
                <a:cubicBezTo>
                  <a:pt x="11834801" y="702563"/>
                  <a:pt x="11842732" y="694611"/>
                  <a:pt x="11852712" y="694611"/>
                </a:cubicBezTo>
                <a:close/>
                <a:moveTo>
                  <a:pt x="11852712" y="690888"/>
                </a:moveTo>
                <a:cubicBezTo>
                  <a:pt x="11840940" y="690888"/>
                  <a:pt x="11831348" y="700513"/>
                  <a:pt x="11831348" y="712446"/>
                </a:cubicBezTo>
                <a:cubicBezTo>
                  <a:pt x="11831348" y="724509"/>
                  <a:pt x="11840940" y="734004"/>
                  <a:pt x="11852712" y="734004"/>
                </a:cubicBezTo>
                <a:cubicBezTo>
                  <a:pt x="11864613" y="734004"/>
                  <a:pt x="11874076" y="724250"/>
                  <a:pt x="11874076" y="712446"/>
                </a:cubicBezTo>
                <a:cubicBezTo>
                  <a:pt x="11874076" y="700642"/>
                  <a:pt x="11864484" y="690888"/>
                  <a:pt x="11852712" y="690888"/>
                </a:cubicBezTo>
                <a:close/>
                <a:moveTo>
                  <a:pt x="11639380" y="551044"/>
                </a:moveTo>
                <a:cubicBezTo>
                  <a:pt x="11639972" y="550996"/>
                  <a:pt x="11640676" y="551285"/>
                  <a:pt x="11641189" y="551862"/>
                </a:cubicBezTo>
                <a:cubicBezTo>
                  <a:pt x="11649011" y="560062"/>
                  <a:pt x="11646325" y="621974"/>
                  <a:pt x="11644652" y="634274"/>
                </a:cubicBezTo>
                <a:cubicBezTo>
                  <a:pt x="11644264" y="637349"/>
                  <a:pt x="11641448" y="639788"/>
                  <a:pt x="11640682" y="633508"/>
                </a:cubicBezTo>
                <a:cubicBezTo>
                  <a:pt x="11639786" y="625567"/>
                  <a:pt x="11635557" y="607235"/>
                  <a:pt x="11634273" y="599671"/>
                </a:cubicBezTo>
                <a:cubicBezTo>
                  <a:pt x="11632859" y="592496"/>
                  <a:pt x="11636841" y="570582"/>
                  <a:pt x="11638243" y="552250"/>
                </a:cubicBezTo>
                <a:cubicBezTo>
                  <a:pt x="11638308" y="551479"/>
                  <a:pt x="11638788" y="551093"/>
                  <a:pt x="11639380" y="551044"/>
                </a:cubicBezTo>
                <a:close/>
                <a:moveTo>
                  <a:pt x="11490639" y="502002"/>
                </a:moveTo>
                <a:cubicBezTo>
                  <a:pt x="11510395" y="504700"/>
                  <a:pt x="11530399" y="505207"/>
                  <a:pt x="11550015" y="504052"/>
                </a:cubicBezTo>
                <a:cubicBezTo>
                  <a:pt x="11553220" y="516223"/>
                  <a:pt x="11552831" y="532116"/>
                  <a:pt x="11548343" y="536605"/>
                </a:cubicBezTo>
                <a:cubicBezTo>
                  <a:pt x="11541157" y="543910"/>
                  <a:pt x="11508722" y="542496"/>
                  <a:pt x="11499486" y="541094"/>
                </a:cubicBezTo>
                <a:cubicBezTo>
                  <a:pt x="11496918" y="540705"/>
                  <a:pt x="11494361" y="540327"/>
                  <a:pt x="11492948" y="533659"/>
                </a:cubicBezTo>
                <a:cubicBezTo>
                  <a:pt x="11491405" y="525837"/>
                  <a:pt x="11491275" y="511486"/>
                  <a:pt x="11490639" y="502002"/>
                </a:cubicBezTo>
                <a:close/>
                <a:moveTo>
                  <a:pt x="11594253" y="498797"/>
                </a:moveTo>
                <a:cubicBezTo>
                  <a:pt x="11599767" y="509048"/>
                  <a:pt x="11600155" y="514950"/>
                  <a:pt x="11598612" y="520075"/>
                </a:cubicBezTo>
                <a:cubicBezTo>
                  <a:pt x="11597069" y="525200"/>
                  <a:pt x="11589894" y="528146"/>
                  <a:pt x="11588351" y="527509"/>
                </a:cubicBezTo>
                <a:cubicBezTo>
                  <a:pt x="11588092" y="516482"/>
                  <a:pt x="11585147" y="508152"/>
                  <a:pt x="11580011" y="500718"/>
                </a:cubicBezTo>
                <a:cubicBezTo>
                  <a:pt x="11584510" y="499952"/>
                  <a:pt x="11589257" y="499315"/>
                  <a:pt x="11594253" y="498797"/>
                </a:cubicBezTo>
                <a:close/>
                <a:moveTo>
                  <a:pt x="11441405" y="491374"/>
                </a:moveTo>
                <a:cubicBezTo>
                  <a:pt x="11447684" y="493295"/>
                  <a:pt x="11454104" y="494967"/>
                  <a:pt x="11460384" y="496499"/>
                </a:cubicBezTo>
                <a:cubicBezTo>
                  <a:pt x="11456025" y="524056"/>
                  <a:pt x="11447436" y="531868"/>
                  <a:pt x="11442948" y="533670"/>
                </a:cubicBezTo>
                <a:cubicBezTo>
                  <a:pt x="11439473" y="535073"/>
                  <a:pt x="11431910" y="535839"/>
                  <a:pt x="11434607" y="527132"/>
                </a:cubicBezTo>
                <a:cubicBezTo>
                  <a:pt x="11437305" y="518413"/>
                  <a:pt x="11439862" y="503545"/>
                  <a:pt x="11441405" y="491374"/>
                </a:cubicBezTo>
                <a:close/>
                <a:moveTo>
                  <a:pt x="11419441" y="484343"/>
                </a:moveTo>
                <a:cubicBezTo>
                  <a:pt x="11421606" y="484488"/>
                  <a:pt x="11425004" y="485801"/>
                  <a:pt x="11431543" y="488299"/>
                </a:cubicBezTo>
                <a:cubicBezTo>
                  <a:pt x="11430647" y="509447"/>
                  <a:pt x="11425263" y="521499"/>
                  <a:pt x="11423202" y="532257"/>
                </a:cubicBezTo>
                <a:cubicBezTo>
                  <a:pt x="11420893" y="543284"/>
                  <a:pt x="11433204" y="545841"/>
                  <a:pt x="11444102" y="543154"/>
                </a:cubicBezTo>
                <a:cubicBezTo>
                  <a:pt x="11454870" y="540468"/>
                  <a:pt x="11465132" y="529182"/>
                  <a:pt x="11469620" y="498549"/>
                </a:cubicBezTo>
                <a:cubicBezTo>
                  <a:pt x="11473850" y="499574"/>
                  <a:pt x="11477313" y="500092"/>
                  <a:pt x="11481672" y="500729"/>
                </a:cubicBezTo>
                <a:cubicBezTo>
                  <a:pt x="11482190" y="532516"/>
                  <a:pt x="11484111" y="539691"/>
                  <a:pt x="11485395" y="542507"/>
                </a:cubicBezTo>
                <a:cubicBezTo>
                  <a:pt x="11487833" y="548398"/>
                  <a:pt x="11493735" y="550329"/>
                  <a:pt x="11498472" y="550707"/>
                </a:cubicBezTo>
                <a:cubicBezTo>
                  <a:pt x="11523353" y="552628"/>
                  <a:pt x="11547458" y="551862"/>
                  <a:pt x="11555917" y="543532"/>
                </a:cubicBezTo>
                <a:cubicBezTo>
                  <a:pt x="11564506" y="535073"/>
                  <a:pt x="11561560" y="514443"/>
                  <a:pt x="11559122" y="503286"/>
                </a:cubicBezTo>
                <a:cubicBezTo>
                  <a:pt x="11563092" y="502898"/>
                  <a:pt x="11566308" y="502520"/>
                  <a:pt x="11570149" y="502002"/>
                </a:cubicBezTo>
                <a:cubicBezTo>
                  <a:pt x="11578360" y="511486"/>
                  <a:pt x="11579385" y="521866"/>
                  <a:pt x="11579385" y="528405"/>
                </a:cubicBezTo>
                <a:cubicBezTo>
                  <a:pt x="11579385" y="535709"/>
                  <a:pt x="11587466" y="539551"/>
                  <a:pt x="11598752" y="531739"/>
                </a:cubicBezTo>
                <a:cubicBezTo>
                  <a:pt x="11609909" y="523916"/>
                  <a:pt x="11608884" y="510202"/>
                  <a:pt x="11602723" y="497773"/>
                </a:cubicBezTo>
                <a:cubicBezTo>
                  <a:pt x="11628371" y="495722"/>
                  <a:pt x="11627086" y="512511"/>
                  <a:pt x="11625673" y="533282"/>
                </a:cubicBezTo>
                <a:cubicBezTo>
                  <a:pt x="11624389" y="553793"/>
                  <a:pt x="11619771" y="582882"/>
                  <a:pt x="11612855" y="586216"/>
                </a:cubicBezTo>
                <a:cubicBezTo>
                  <a:pt x="11605798" y="589162"/>
                  <a:pt x="11594771" y="570323"/>
                  <a:pt x="11537326" y="569428"/>
                </a:cubicBezTo>
                <a:cubicBezTo>
                  <a:pt x="11496551" y="568661"/>
                  <a:pt x="11465261" y="574175"/>
                  <a:pt x="11459488" y="611465"/>
                </a:cubicBezTo>
                <a:cubicBezTo>
                  <a:pt x="11459100" y="614151"/>
                  <a:pt x="11457568" y="613774"/>
                  <a:pt x="11456154" y="612360"/>
                </a:cubicBezTo>
                <a:cubicBezTo>
                  <a:pt x="11444998" y="600189"/>
                  <a:pt x="11434737" y="594676"/>
                  <a:pt x="11418325" y="585191"/>
                </a:cubicBezTo>
                <a:cubicBezTo>
                  <a:pt x="11401785" y="575448"/>
                  <a:pt x="11390757" y="562382"/>
                  <a:pt x="11388707" y="549434"/>
                </a:cubicBezTo>
                <a:cubicBezTo>
                  <a:pt x="11386657" y="536486"/>
                  <a:pt x="11391405" y="519190"/>
                  <a:pt x="11414743" y="487403"/>
                </a:cubicBezTo>
                <a:cubicBezTo>
                  <a:pt x="11416346" y="485224"/>
                  <a:pt x="11417276" y="484199"/>
                  <a:pt x="11419441" y="484343"/>
                </a:cubicBezTo>
                <a:close/>
                <a:moveTo>
                  <a:pt x="11358173" y="469801"/>
                </a:moveTo>
                <a:cubicBezTo>
                  <a:pt x="11352402" y="469752"/>
                  <a:pt x="11342133" y="472433"/>
                  <a:pt x="11346260" y="478275"/>
                </a:cubicBezTo>
                <a:cubicBezTo>
                  <a:pt x="11351763" y="486314"/>
                  <a:pt x="11362639" y="473042"/>
                  <a:pt x="11361744" y="470744"/>
                </a:cubicBezTo>
                <a:cubicBezTo>
                  <a:pt x="11361520" y="470137"/>
                  <a:pt x="11360096" y="469817"/>
                  <a:pt x="11358173" y="469801"/>
                </a:cubicBezTo>
                <a:close/>
                <a:moveTo>
                  <a:pt x="11354455" y="453696"/>
                </a:moveTo>
                <a:cubicBezTo>
                  <a:pt x="11359222" y="452705"/>
                  <a:pt x="11365520" y="456094"/>
                  <a:pt x="11379471" y="464453"/>
                </a:cubicBezTo>
                <a:cubicBezTo>
                  <a:pt x="11402044" y="478167"/>
                  <a:pt x="11408971" y="475351"/>
                  <a:pt x="11401267" y="487522"/>
                </a:cubicBezTo>
                <a:cubicBezTo>
                  <a:pt x="11396519" y="495345"/>
                  <a:pt x="11380486" y="516104"/>
                  <a:pt x="11376515" y="541611"/>
                </a:cubicBezTo>
                <a:cubicBezTo>
                  <a:pt x="11371131" y="534436"/>
                  <a:pt x="11363815" y="516622"/>
                  <a:pt x="11357665" y="511745"/>
                </a:cubicBezTo>
                <a:cubicBezTo>
                  <a:pt x="11345613" y="502261"/>
                  <a:pt x="11335222" y="509566"/>
                  <a:pt x="11330734" y="504052"/>
                </a:cubicBezTo>
                <a:cubicBezTo>
                  <a:pt x="11325727" y="498031"/>
                  <a:pt x="11323677" y="497643"/>
                  <a:pt x="11328166" y="491881"/>
                </a:cubicBezTo>
                <a:cubicBezTo>
                  <a:pt x="11328166" y="491881"/>
                  <a:pt x="11333550" y="484835"/>
                  <a:pt x="11335600" y="481879"/>
                </a:cubicBezTo>
                <a:cubicBezTo>
                  <a:pt x="11337909" y="478804"/>
                  <a:pt x="11337272" y="473031"/>
                  <a:pt x="11338297" y="470604"/>
                </a:cubicBezTo>
                <a:cubicBezTo>
                  <a:pt x="11339193" y="468165"/>
                  <a:pt x="11344707" y="460861"/>
                  <a:pt x="11349972" y="456124"/>
                </a:cubicBezTo>
                <a:cubicBezTo>
                  <a:pt x="11351448" y="454843"/>
                  <a:pt x="11352866" y="454026"/>
                  <a:pt x="11354455" y="453696"/>
                </a:cubicBezTo>
                <a:close/>
                <a:moveTo>
                  <a:pt x="11324025" y="392924"/>
                </a:moveTo>
                <a:cubicBezTo>
                  <a:pt x="11322935" y="393149"/>
                  <a:pt x="11322134" y="395329"/>
                  <a:pt x="11322134" y="400006"/>
                </a:cubicBezTo>
                <a:cubicBezTo>
                  <a:pt x="11322134" y="423463"/>
                  <a:pt x="11332395" y="437555"/>
                  <a:pt x="11335988" y="441536"/>
                </a:cubicBezTo>
                <a:cubicBezTo>
                  <a:pt x="11339452" y="445507"/>
                  <a:pt x="11341114" y="449477"/>
                  <a:pt x="11339193" y="451786"/>
                </a:cubicBezTo>
                <a:cubicBezTo>
                  <a:pt x="11334068" y="457807"/>
                  <a:pt x="11328554" y="464475"/>
                  <a:pt x="11328425" y="467162"/>
                </a:cubicBezTo>
                <a:cubicBezTo>
                  <a:pt x="11328166" y="470107"/>
                  <a:pt x="11328425" y="471521"/>
                  <a:pt x="11327270" y="474855"/>
                </a:cubicBezTo>
                <a:cubicBezTo>
                  <a:pt x="11326116" y="478059"/>
                  <a:pt x="11322016" y="482796"/>
                  <a:pt x="11315477" y="490748"/>
                </a:cubicBezTo>
                <a:cubicBezTo>
                  <a:pt x="11311884" y="495366"/>
                  <a:pt x="11314193" y="500362"/>
                  <a:pt x="11317268" y="503696"/>
                </a:cubicBezTo>
                <a:cubicBezTo>
                  <a:pt x="11320861" y="507796"/>
                  <a:pt x="11323300" y="512544"/>
                  <a:pt x="11327788" y="514594"/>
                </a:cubicBezTo>
                <a:cubicBezTo>
                  <a:pt x="11332406" y="516644"/>
                  <a:pt x="11336506" y="515230"/>
                  <a:pt x="11341890" y="516137"/>
                </a:cubicBezTo>
                <a:cubicBezTo>
                  <a:pt x="11347016" y="517032"/>
                  <a:pt x="11353436" y="520107"/>
                  <a:pt x="11358561" y="529214"/>
                </a:cubicBezTo>
                <a:cubicBezTo>
                  <a:pt x="11365995" y="542539"/>
                  <a:pt x="11373947" y="563310"/>
                  <a:pt x="11388308" y="580476"/>
                </a:cubicBezTo>
                <a:cubicBezTo>
                  <a:pt x="11394717" y="588040"/>
                  <a:pt x="11394717" y="602013"/>
                  <a:pt x="11394717" y="606490"/>
                </a:cubicBezTo>
                <a:cubicBezTo>
                  <a:pt x="11395106" y="646736"/>
                  <a:pt x="11374076" y="684803"/>
                  <a:pt x="11360611" y="709026"/>
                </a:cubicBezTo>
                <a:cubicBezTo>
                  <a:pt x="11357406" y="714669"/>
                  <a:pt x="11358172" y="719406"/>
                  <a:pt x="11362402" y="719406"/>
                </a:cubicBezTo>
                <a:cubicBezTo>
                  <a:pt x="11367279" y="719406"/>
                  <a:pt x="11385481" y="719406"/>
                  <a:pt x="11388567" y="719406"/>
                </a:cubicBezTo>
                <a:cubicBezTo>
                  <a:pt x="11391901" y="719406"/>
                  <a:pt x="11393951" y="715813"/>
                  <a:pt x="11394210" y="711972"/>
                </a:cubicBezTo>
                <a:cubicBezTo>
                  <a:pt x="11396519" y="679030"/>
                  <a:pt x="11415110" y="618661"/>
                  <a:pt x="11429094" y="608411"/>
                </a:cubicBezTo>
                <a:cubicBezTo>
                  <a:pt x="11452561" y="623150"/>
                  <a:pt x="11475900" y="654678"/>
                  <a:pt x="11464484" y="709921"/>
                </a:cubicBezTo>
                <a:cubicBezTo>
                  <a:pt x="11463966" y="712996"/>
                  <a:pt x="11461150" y="719665"/>
                  <a:pt x="11468207" y="719665"/>
                </a:cubicBezTo>
                <a:cubicBezTo>
                  <a:pt x="11468207" y="719665"/>
                  <a:pt x="11488082" y="719665"/>
                  <a:pt x="11490650" y="719665"/>
                </a:cubicBezTo>
                <a:cubicBezTo>
                  <a:pt x="11493595" y="719665"/>
                  <a:pt x="11498343" y="718510"/>
                  <a:pt x="11497954" y="713126"/>
                </a:cubicBezTo>
                <a:cubicBezTo>
                  <a:pt x="11496800" y="691590"/>
                  <a:pt x="11478716" y="646100"/>
                  <a:pt x="11473979" y="619309"/>
                </a:cubicBezTo>
                <a:cubicBezTo>
                  <a:pt x="11471034" y="602390"/>
                  <a:pt x="11484499" y="572146"/>
                  <a:pt x="11535276" y="595345"/>
                </a:cubicBezTo>
                <a:cubicBezTo>
                  <a:pt x="11554773" y="577790"/>
                  <a:pt x="11580421" y="588428"/>
                  <a:pt x="11569383" y="622136"/>
                </a:cubicBezTo>
                <a:cubicBezTo>
                  <a:pt x="11558614" y="655713"/>
                  <a:pt x="11549249" y="670452"/>
                  <a:pt x="11512315" y="709932"/>
                </a:cubicBezTo>
                <a:cubicBezTo>
                  <a:pt x="11508215" y="714550"/>
                  <a:pt x="11507827" y="719417"/>
                  <a:pt x="11514624" y="719417"/>
                </a:cubicBezTo>
                <a:cubicBezTo>
                  <a:pt x="11517958" y="719417"/>
                  <a:pt x="11534888" y="719417"/>
                  <a:pt x="11538351" y="719417"/>
                </a:cubicBezTo>
                <a:cubicBezTo>
                  <a:pt x="11543476" y="719417"/>
                  <a:pt x="11545537" y="717874"/>
                  <a:pt x="11547069" y="713903"/>
                </a:cubicBezTo>
                <a:cubicBezTo>
                  <a:pt x="11548483" y="709673"/>
                  <a:pt x="11565412" y="656102"/>
                  <a:pt x="11598623" y="630983"/>
                </a:cubicBezTo>
                <a:cubicBezTo>
                  <a:pt x="11601191" y="629063"/>
                  <a:pt x="11603371" y="620474"/>
                  <a:pt x="11608496" y="600869"/>
                </a:cubicBezTo>
                <a:cubicBezTo>
                  <a:pt x="11624529" y="622017"/>
                  <a:pt x="11626709" y="660461"/>
                  <a:pt x="11599130" y="710062"/>
                </a:cubicBezTo>
                <a:cubicBezTo>
                  <a:pt x="11596314" y="715316"/>
                  <a:pt x="11597976" y="719287"/>
                  <a:pt x="11601439" y="719287"/>
                </a:cubicBezTo>
                <a:cubicBezTo>
                  <a:pt x="11603360" y="719287"/>
                  <a:pt x="11618368" y="719287"/>
                  <a:pt x="11622857" y="719287"/>
                </a:cubicBezTo>
                <a:cubicBezTo>
                  <a:pt x="11626828" y="719287"/>
                  <a:pt x="11627982" y="717107"/>
                  <a:pt x="11629525" y="711087"/>
                </a:cubicBezTo>
                <a:cubicBezTo>
                  <a:pt x="11631446" y="703653"/>
                  <a:pt x="11632093" y="700060"/>
                  <a:pt x="11634650" y="693014"/>
                </a:cubicBezTo>
                <a:cubicBezTo>
                  <a:pt x="11636193" y="688655"/>
                  <a:pt x="11636830" y="687889"/>
                  <a:pt x="11654018" y="688018"/>
                </a:cubicBezTo>
                <a:cubicBezTo>
                  <a:pt x="11659402" y="688018"/>
                  <a:pt x="11659024" y="685202"/>
                  <a:pt x="11659024" y="680584"/>
                </a:cubicBezTo>
                <a:cubicBezTo>
                  <a:pt x="11659272" y="614151"/>
                  <a:pt x="11659661" y="544687"/>
                  <a:pt x="11654654" y="520852"/>
                </a:cubicBezTo>
                <a:cubicBezTo>
                  <a:pt x="11647727" y="487403"/>
                  <a:pt x="11618617" y="486378"/>
                  <a:pt x="11603360" y="487533"/>
                </a:cubicBezTo>
                <a:cubicBezTo>
                  <a:pt x="11587456" y="488688"/>
                  <a:pt x="11557449" y="493424"/>
                  <a:pt x="11526547" y="493424"/>
                </a:cubicBezTo>
                <a:cubicBezTo>
                  <a:pt x="11484866" y="493424"/>
                  <a:pt x="11437930" y="481631"/>
                  <a:pt x="11402033" y="464842"/>
                </a:cubicBezTo>
                <a:cubicBezTo>
                  <a:pt x="11395753" y="462026"/>
                  <a:pt x="11398958" y="460742"/>
                  <a:pt x="11401644" y="459199"/>
                </a:cubicBezTo>
                <a:cubicBezTo>
                  <a:pt x="11415110" y="451765"/>
                  <a:pt x="11426774" y="445097"/>
                  <a:pt x="11433960" y="433314"/>
                </a:cubicBezTo>
                <a:cubicBezTo>
                  <a:pt x="11439473" y="424348"/>
                  <a:pt x="11437423" y="421521"/>
                  <a:pt x="11431392" y="426398"/>
                </a:cubicBezTo>
                <a:cubicBezTo>
                  <a:pt x="11415110" y="439982"/>
                  <a:pt x="11391890" y="447546"/>
                  <a:pt x="11365995" y="438191"/>
                </a:cubicBezTo>
                <a:cubicBezTo>
                  <a:pt x="11339959" y="428966"/>
                  <a:pt x="11329957" y="403847"/>
                  <a:pt x="11327648" y="397567"/>
                </a:cubicBezTo>
                <a:cubicBezTo>
                  <a:pt x="11326493" y="394428"/>
                  <a:pt x="11325115" y="392699"/>
                  <a:pt x="11324025" y="392924"/>
                </a:cubicBezTo>
                <a:close/>
                <a:moveTo>
                  <a:pt x="11391491" y="334037"/>
                </a:moveTo>
                <a:cubicBezTo>
                  <a:pt x="11410848" y="334037"/>
                  <a:pt x="11426364" y="349790"/>
                  <a:pt x="11426364" y="368996"/>
                </a:cubicBezTo>
                <a:cubicBezTo>
                  <a:pt x="11426364" y="388331"/>
                  <a:pt x="11410848" y="403955"/>
                  <a:pt x="11391491" y="403955"/>
                </a:cubicBezTo>
                <a:cubicBezTo>
                  <a:pt x="11372134" y="403955"/>
                  <a:pt x="11356360" y="388331"/>
                  <a:pt x="11356360" y="368996"/>
                </a:cubicBezTo>
                <a:cubicBezTo>
                  <a:pt x="11356360" y="349542"/>
                  <a:pt x="11372134" y="334037"/>
                  <a:pt x="11391491" y="334037"/>
                </a:cubicBezTo>
                <a:close/>
                <a:moveTo>
                  <a:pt x="11389959" y="321618"/>
                </a:moveTo>
                <a:cubicBezTo>
                  <a:pt x="11360729" y="321618"/>
                  <a:pt x="11337262" y="345442"/>
                  <a:pt x="11337262" y="374510"/>
                </a:cubicBezTo>
                <a:cubicBezTo>
                  <a:pt x="11337262" y="403836"/>
                  <a:pt x="11360978" y="427401"/>
                  <a:pt x="11389959" y="427401"/>
                </a:cubicBezTo>
                <a:cubicBezTo>
                  <a:pt x="11419189" y="427401"/>
                  <a:pt x="11442656" y="403577"/>
                  <a:pt x="11442656" y="374510"/>
                </a:cubicBezTo>
                <a:cubicBezTo>
                  <a:pt x="11442656" y="345183"/>
                  <a:pt x="11419189" y="321618"/>
                  <a:pt x="11389959" y="321618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4D7DC"/>
          </a:solidFill>
        </p:spPr>
        <p:txBody>
          <a:bodyPr wrap="square" tIns="7200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648000"/>
            <a:ext cx="8652000" cy="310485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5D48FB-C4AE-4499-AA0B-C1A976EDD5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9600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6987" y="60552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189875-0661-4E2F-8DC6-9F8850F63BE8}"/>
              </a:ext>
            </a:extLst>
          </p:cNvPr>
          <p:cNvSpPr txBox="1"/>
          <p:nvPr userDrawn="1"/>
        </p:nvSpPr>
        <p:spPr>
          <a:xfrm>
            <a:off x="23812" y="-33912"/>
            <a:ext cx="36000" cy="17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en-GB" sz="100" dirty="0">
                <a:solidFill>
                  <a:srgbClr val="666666"/>
                </a:solidFill>
                <a:latin typeface="Apis For Office Light" panose="020B0404010101010104" pitchFamily="34" charset="0"/>
                <a:ea typeface="Apis For Office Light" panose="020B0404010101010104" pitchFamily="34" charset="0"/>
                <a:cs typeface="Apis For Office Light" panose="020B0404010101010104" pitchFamily="34" charset="0"/>
              </a:rPr>
              <a:t>Light</a:t>
            </a:r>
          </a:p>
        </p:txBody>
      </p:sp>
      <p:sp>
        <p:nvSpPr>
          <p:cNvPr id="16" name="Slide Number Placeholder 8">
            <a:extLst>
              <a:ext uri="{FF2B5EF4-FFF2-40B4-BE49-F238E27FC236}">
                <a16:creationId xmlns:a16="http://schemas.microsoft.com/office/drawing/2014/main" id="{A65E5DCA-65B0-489C-8954-F5C4AA22AC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3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CC218D6D-FEFB-46D0-8813-C99976F4CA16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13293969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980C894-9D8D-4E84-92B9-6EA4ECCC00D1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310485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8220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6987" y="6053913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FDF5EDE-8F7F-4DF3-B844-7C0C4E6AC641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5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9CE848CF-6894-4564-ABE3-C9ED24818DCD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6C80C8D-1C72-4DEF-843D-58E9166721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6" name="Footer Placeholder 7">
            <a:extLst>
              <a:ext uri="{FF2B5EF4-FFF2-40B4-BE49-F238E27FC236}">
                <a16:creationId xmlns:a16="http://schemas.microsoft.com/office/drawing/2014/main" id="{2BE0DF0F-9C1F-48B6-81C9-DE493CAF27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8">
            <a:extLst>
              <a:ext uri="{FF2B5EF4-FFF2-40B4-BE49-F238E27FC236}">
                <a16:creationId xmlns:a16="http://schemas.microsoft.com/office/drawing/2014/main" id="{4EC3851D-A362-49B0-86B2-00F14E8191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884192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3105000"/>
          </a:xfrm>
        </p:spPr>
        <p:txBody>
          <a:bodyPr bIns="144000" anchor="b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799507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7999" y="6055882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71420AF-1268-4AE1-84DA-164DB71C2C14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3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AE78219-5CBB-4760-B800-636AFE0A99A8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C86D47D-AFD8-4DC6-BD55-10180E93A9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7999" y="3753000"/>
            <a:ext cx="8652001" cy="1309148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7" name="Footer Placeholder 7">
            <a:extLst>
              <a:ext uri="{FF2B5EF4-FFF2-40B4-BE49-F238E27FC236}">
                <a16:creationId xmlns:a16="http://schemas.microsoft.com/office/drawing/2014/main" id="{FADB92D4-4128-4A3B-A654-38C0F1360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8">
            <a:extLst>
              <a:ext uri="{FF2B5EF4-FFF2-40B4-BE49-F238E27FC236}">
                <a16:creationId xmlns:a16="http://schemas.microsoft.com/office/drawing/2014/main" id="{8E1CB220-B3D7-46B6-BFDD-6B22270FC0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873947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36356" y="2163600"/>
            <a:ext cx="6408844" cy="2379600"/>
          </a:xfrm>
        </p:spPr>
        <p:txBody>
          <a:bodyPr anchor="ctr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3DB85B7-7760-4094-B5B7-6A45B6116B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36000" y="5799507"/>
            <a:ext cx="1920000" cy="154800"/>
          </a:xfrm>
        </p:spPr>
        <p:txBody>
          <a:bodyPr anchor="b"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31" name="Date Placeholder 6">
            <a:extLst>
              <a:ext uri="{FF2B5EF4-FFF2-40B4-BE49-F238E27FC236}">
                <a16:creationId xmlns:a16="http://schemas.microsoft.com/office/drawing/2014/main" id="{353E10AF-D600-4770-A150-4A8ED3F945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36000" y="60552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7ACB837-D775-4027-8A9A-8A934ABD2C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4000" y="324000"/>
            <a:ext cx="4488000" cy="62100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DB09BC2-598E-40D3-B291-F2AE97681E1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3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CFCDB02C-C393-45D0-9339-45B1931BD426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Footer Placeholder 7">
            <a:extLst>
              <a:ext uri="{FF2B5EF4-FFF2-40B4-BE49-F238E27FC236}">
                <a16:creationId xmlns:a16="http://schemas.microsoft.com/office/drawing/2014/main" id="{6065F747-4561-4901-98B7-BF52331654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871C597D-634C-4C0B-95AD-0C969D5845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16588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8" y="6348540"/>
            <a:ext cx="10895999" cy="324000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413282086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F3B750-FD0B-4117-8CF8-02751916C1F8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01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5A42DB6-37C7-4655-8383-4D4C615303B7}"/>
              </a:ext>
            </a:extLst>
          </p:cNvPr>
          <p:cNvSpPr txBox="1"/>
          <p:nvPr userDrawn="1"/>
        </p:nvSpPr>
        <p:spPr>
          <a:xfrm>
            <a:off x="7381875" y="2819981"/>
            <a:ext cx="4162126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720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4BBEEFE-FD1C-41BE-8701-C445D2EB12C0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5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3EF1636C-932C-4747-B37D-D0B1E2D9AB18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38322234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AA02891-9B5C-45AF-8221-7F98276EA4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0884CB1-C89E-483F-AD92-A451F60F1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82" t="20310" r="8216" b="23549"/>
          <a:stretch/>
        </p:blipFill>
        <p:spPr>
          <a:xfrm>
            <a:off x="190500" y="2105535"/>
            <a:ext cx="10292105" cy="2989020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AB77215-63F5-457D-BB11-70300B8118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tx2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01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058A511-E7D3-48F5-9E56-C90D4AEF433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3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2AD425B-83E9-4675-A5F8-3B70DC855783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44082120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anded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AA02891-9B5C-45AF-8221-7F98276EA4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2AD94F7-3470-4EDF-8360-C604BB358116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058A511-E7D3-48F5-9E56-C90D4AEF433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0884CB1-C89E-483F-AD92-A451F60F1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82" t="20310" r="8216" b="23549"/>
          <a:stretch/>
        </p:blipFill>
        <p:spPr>
          <a:xfrm>
            <a:off x="190500" y="2105535"/>
            <a:ext cx="10292105" cy="2989020"/>
          </a:xfrm>
          <a:prstGeom prst="rect">
            <a:avLst/>
          </a:prstGeom>
        </p:spPr>
      </p:pic>
      <p:sp>
        <p:nvSpPr>
          <p:cNvPr id="3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2AD425B-83E9-4675-A5F8-3B70DC855783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94456286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94AFEEA-94E5-4AC9-A1E0-1C0A39ED59B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04617A3-773E-4D38-A193-F8C5B6A520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82" t="20310" r="8216" b="23549"/>
          <a:stretch/>
        </p:blipFill>
        <p:spPr>
          <a:xfrm>
            <a:off x="190500" y="2105535"/>
            <a:ext cx="10292105" cy="2989020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92000" y="648000"/>
            <a:ext cx="6408000" cy="5562000"/>
          </a:xfrm>
        </p:spPr>
        <p:txBody>
          <a:bodyPr anchor="ctr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>
                <a:solidFill>
                  <a:schemeClr val="tx2"/>
                </a:solidFill>
              </a:defRPr>
            </a:lvl1pPr>
            <a:lvl2pPr marL="270000" indent="-27000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noProof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E35705F-E398-47AC-9EC0-7584A114B9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7999" y="648000"/>
            <a:ext cx="1920001" cy="5562000"/>
          </a:xfrm>
        </p:spPr>
        <p:txBody>
          <a:bodyPr anchor="ctr"/>
          <a:lstStyle>
            <a:lvl1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1pPr>
            <a:lvl2pPr marL="270000" indent="-27000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2"/>
                </a:solidFill>
              </a:defRPr>
            </a:lvl2pPr>
            <a:lvl3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GB" sz="20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dirty="0"/>
              <a:t>09.00-09.30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marL="270000" lvl="1" indent="-270000" algn="l" defTabSz="914400" rtl="0" eaLnBrk="1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058A511-E7D3-48F5-9E56-C90D4AEF4335}"/>
              </a:ext>
            </a:extLst>
          </p:cNvPr>
          <p:cNvSpPr/>
          <p:nvPr userDrawn="1"/>
        </p:nvSpPr>
        <p:spPr bwMode="gray"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2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B3C1CADE-9463-4A8D-B4E6-273C0EC9AFF5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04901723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7E7C513-B1CD-4706-976C-28D5F1922773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7999" y="648000"/>
            <a:ext cx="8652001" cy="5562000"/>
          </a:xfrm>
        </p:spPr>
        <p:txBody>
          <a:bodyPr anchor="ctr"/>
          <a:lstStyle>
            <a:lvl1pPr algn="l"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3602F927-C35A-415E-909F-7517AD1B0FFA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6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D9E9F619-DDA7-4396-BEF5-E42E21A0A600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70974160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E495F4B-43C9-4BD0-8BB8-4942406D92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8766DD-9A06-4EF8-BC56-88FAB73040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97164" y="647700"/>
            <a:ext cx="8902835" cy="5562300"/>
          </a:xfrm>
        </p:spPr>
        <p:txBody>
          <a:bodyPr anchor="ctr">
            <a:noAutofit/>
          </a:bodyPr>
          <a:lstStyle>
            <a:lvl1pPr marL="0" indent="0">
              <a:buNone/>
              <a:defRPr sz="41300">
                <a:solidFill>
                  <a:srgbClr val="EBE8E5"/>
                </a:solidFill>
              </a:defRPr>
            </a:lvl1pPr>
          </a:lstStyle>
          <a:p>
            <a:pPr lvl="0"/>
            <a:r>
              <a:rPr lang="en-GB" dirty="0"/>
              <a:t>01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23601" y="648000"/>
            <a:ext cx="7675974" cy="5562000"/>
          </a:xfrm>
        </p:spPr>
        <p:txBody>
          <a:bodyPr anchor="ctr"/>
          <a:lstStyle>
            <a:lvl1pPr algn="l">
              <a:defRPr sz="44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CFC03F98-43D5-4866-9EED-B1724A421DE5}"/>
              </a:ext>
            </a:extLst>
          </p:cNvPr>
          <p:cNvSpPr/>
          <p:nvPr userDrawn="1"/>
        </p:nvSpPr>
        <p:spPr>
          <a:xfrm>
            <a:off x="11172825" y="321618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6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C259898-72ED-48AD-B8DB-354C87B7C69D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86800881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650DCB-43F5-4BCD-9599-AED4AC9F4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92000" y="647700"/>
            <a:ext cx="8976150" cy="5886300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0713"/>
            <a:ext cx="6406850" cy="5238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9FC834-4845-430D-833F-E27D62F7E10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B39247E-D185-41FD-BF62-F6D03E65C5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70F0230-6038-4355-80ED-FB8CD83128C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181113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650DCB-43F5-4BCD-9599-AED4AC9F48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0" y="3429000"/>
            <a:ext cx="11543999" cy="3104999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0713"/>
            <a:ext cx="6406850" cy="5238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DD836B-4E8F-40F5-B8F7-589382C6DFF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03AE82F-9C53-4FB7-8399-260EEAC4898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BBC4390-ECEC-4EC2-BC84-6A63CD446A0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350190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ntent Tru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2000"/>
            <a:ext cx="10896000" cy="972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A7DD42-50DC-4727-B3D6-62052EA9E5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999" y="648000"/>
            <a:ext cx="10896001" cy="324000"/>
          </a:xfrm>
        </p:spPr>
        <p:txBody>
          <a:bodyPr/>
          <a:lstStyle>
            <a:lvl1pPr marL="0" indent="0">
              <a:buNone/>
              <a:defRPr sz="1400" b="1" cap="all" baseline="0"/>
            </a:lvl1pPr>
          </a:lstStyle>
          <a:p>
            <a:pPr lvl="0"/>
            <a:r>
              <a:rPr lang="en-GB" dirty="0"/>
              <a:t>Click to add trumpet</a:t>
            </a:r>
          </a:p>
        </p:txBody>
      </p:sp>
    </p:spTree>
    <p:extLst>
      <p:ext uri="{BB962C8B-B14F-4D97-AF65-F5344CB8AC3E}">
        <p14:creationId xmlns:p14="http://schemas.microsoft.com/office/powerpoint/2010/main" val="171957467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201667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arallelogramma 14">
            <a:extLst>
              <a:ext uri="{FF2B5EF4-FFF2-40B4-BE49-F238E27FC236}">
                <a16:creationId xmlns:a16="http://schemas.microsoft.com/office/drawing/2014/main" id="{F5AA8A10-E19C-430B-9D5D-8D12F92BFEC5}"/>
              </a:ext>
            </a:extLst>
          </p:cNvPr>
          <p:cNvSpPr/>
          <p:nvPr userDrawn="1"/>
        </p:nvSpPr>
        <p:spPr>
          <a:xfrm>
            <a:off x="7972121" y="0"/>
            <a:ext cx="2857500" cy="6858000"/>
          </a:xfrm>
          <a:prstGeom prst="parallelogram">
            <a:avLst>
              <a:gd name="adj" fmla="val 0"/>
            </a:avLst>
          </a:prstGeom>
          <a:solidFill>
            <a:schemeClr val="bg1">
              <a:lumMod val="9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it-IT" noProof="0" dirty="0"/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A7C93D4F-3003-4D58-9AFB-356A0F800F42}"/>
              </a:ext>
            </a:extLst>
          </p:cNvPr>
          <p:cNvSpPr/>
          <p:nvPr userDrawn="1"/>
        </p:nvSpPr>
        <p:spPr>
          <a:xfrm>
            <a:off x="4917366" y="3841"/>
            <a:ext cx="127212" cy="6858000"/>
          </a:xfrm>
          <a:prstGeom prst="rect">
            <a:avLst/>
          </a:prstGeom>
          <a:solidFill>
            <a:srgbClr val="7D9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noProof="0" dirty="0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9925CCF1-92C0-4AF3-BFAF-4921631915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C3F388D4-15DF-446A-91AA-72876CD48301}" type="datetime1">
              <a:rPr lang="it-IT" noProof="0" smtClean="0"/>
              <a:t>29/01/2025</a:t>
            </a:fld>
            <a:endParaRPr lang="it-IT" noProof="0" dirty="0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51A78A9-3DFF-4937-A9F2-5D8CF495F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it-IT" noProof="0" dirty="0"/>
              <a:t>Piè di pagina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FAEB271-5CC0-4759-BC6E-8BE53AB22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A98EE3D-8CD1-4C3F-BD1C-C98C9596463C}" type="slidenum">
              <a:rPr lang="it-IT" noProof="0" smtClean="0"/>
              <a:t>‹N›</a:t>
            </a:fld>
            <a:endParaRPr lang="it-IT" noProof="0" dirty="0"/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629400" y="758952"/>
            <a:ext cx="4526280" cy="3227514"/>
          </a:xfrm>
        </p:spPr>
        <p:txBody>
          <a:bodyPr rtlCol="0" anchor="b">
            <a:normAutofit/>
          </a:bodyPr>
          <a:lstStyle>
            <a:lvl1pPr algn="l">
              <a:lnSpc>
                <a:spcPct val="90000"/>
              </a:lnSpc>
              <a:defRPr sz="6000" b="1" spc="-50" baseline="0">
                <a:solidFill>
                  <a:srgbClr val="2D4F9B"/>
                </a:solidFill>
                <a:latin typeface="+mn-lt"/>
              </a:defRPr>
            </a:lvl1pPr>
          </a:lstStyle>
          <a:p>
            <a:pPr rtl="0"/>
            <a:r>
              <a:rPr lang="it-IT" noProof="0" dirty="0"/>
              <a:t>Fare clic per modificare lo stile del titolo dello schema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6632171" y="4508500"/>
            <a:ext cx="4526280" cy="1279652"/>
          </a:xfrm>
        </p:spPr>
        <p:txBody>
          <a:bodyPr lIns="91440" rIns="91440" rtlCol="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pPr rtl="0"/>
            <a:r>
              <a:rPr lang="it-IT" noProof="0"/>
              <a:t>Fare clic per modificare lo stile del sottotitolo dello schema</a:t>
            </a:r>
            <a:endParaRPr lang="it-IT" noProof="0" dirty="0"/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6D3E1BBA-670B-4CAE-B839-50ADB23DDBC6}"/>
              </a:ext>
            </a:extLst>
          </p:cNvPr>
          <p:cNvSpPr/>
          <p:nvPr userDrawn="1"/>
        </p:nvSpPr>
        <p:spPr>
          <a:xfrm>
            <a:off x="4821381" y="-1345"/>
            <a:ext cx="137546" cy="6858000"/>
          </a:xfrm>
          <a:prstGeom prst="rect">
            <a:avLst/>
          </a:prstGeom>
          <a:solidFill>
            <a:srgbClr val="E398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it-IT" noProof="0" dirty="0"/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35660D2D-31AE-9184-5C2F-702DD16F2C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35"/>
          <a:stretch/>
        </p:blipFill>
        <p:spPr>
          <a:xfrm>
            <a:off x="-194381" y="-1345"/>
            <a:ext cx="501576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383811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6408000" cy="42661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380000" y="1944000"/>
            <a:ext cx="4164000" cy="426616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6BE7D1E-8977-4FBA-BE12-1091DAF34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420329142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4163713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6000" y="1944000"/>
            <a:ext cx="1920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80000" y="1944000"/>
            <a:ext cx="4164000" cy="426599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D24B339-4BEF-40F4-99BA-001E3E2611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81402329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4164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5999" y="1944000"/>
            <a:ext cx="4164001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1944000"/>
            <a:ext cx="1920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50C9B3A-1DC8-4D31-931B-2B9DFA8D2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3728376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6408300" cy="1292866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1920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92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380000" y="647700"/>
            <a:ext cx="4488000" cy="5886299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6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  <p:sp>
        <p:nvSpPr>
          <p:cNvPr id="4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4E040E5F-17E7-4BD9-A89F-45152FDBA834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06706570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6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5999" y="647700"/>
            <a:ext cx="6732001" cy="58863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  <p:sp>
        <p:nvSpPr>
          <p:cNvPr id="4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AD76CD6D-257F-451B-A84B-5F86799B060C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04472748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6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5999" y="647700"/>
            <a:ext cx="4164001" cy="58863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</p:spTree>
    <p:extLst>
      <p:ext uri="{BB962C8B-B14F-4D97-AF65-F5344CB8AC3E}">
        <p14:creationId xmlns:p14="http://schemas.microsoft.com/office/powerpoint/2010/main" val="220575811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6408300" cy="1292866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6"/>
            <a:ext cx="1920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92000" y="1940566"/>
            <a:ext cx="4164000" cy="426943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04CBD4A-182F-487E-B21D-5F418CE42D1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380000" y="647700"/>
            <a:ext cx="1920000" cy="58863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92D14D3-8709-434C-A54B-15ADD1D8757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36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</p:spTree>
    <p:extLst>
      <p:ext uri="{BB962C8B-B14F-4D97-AF65-F5344CB8AC3E}">
        <p14:creationId xmlns:p14="http://schemas.microsoft.com/office/powerpoint/2010/main" val="138800750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7700"/>
            <a:ext cx="5286220" cy="1651119"/>
          </a:xfrm>
        </p:spPr>
        <p:txBody>
          <a:bodyPr anchor="t"/>
          <a:lstStyle>
            <a:lvl1pPr>
              <a:lnSpc>
                <a:spcPct val="100000"/>
              </a:lnSpc>
              <a:defRPr sz="36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A06B890-E694-4CC8-A7C4-0101B94C346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2488123"/>
            <a:ext cx="5286375" cy="3713631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232361E-9641-4D5F-B5F2-E5299AA8C5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57782" y="647700"/>
            <a:ext cx="5610217" cy="5886300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296DAD-0E66-436A-9C98-8412698CB71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578600" y="968516"/>
            <a:ext cx="4965401" cy="52414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53330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A41594FF-878C-4539-A3DF-E2C07894A9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57914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5150ED-B90C-4AB1-BCB0-E73E86A8D87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6E0E6C7-4501-41F5-82DA-93E27DDCEB4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834695D-31D7-40E5-BF1E-A049DDB0738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C244FE-0B79-4E3B-B276-2F6B1D5612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86092605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896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1315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F91D68D-2FA9-4CAD-8EF0-C0BF3460A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9543142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80DF523-34A7-40E1-AE82-7A0D3594680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0"/>
            <a:ext cx="12191999" cy="6858000"/>
          </a:xfrm>
          <a:custGeom>
            <a:avLst/>
            <a:gdLst>
              <a:gd name="connsiteX0" fmla="*/ 11666200 w 12191999"/>
              <a:gd name="connsiteY0" fmla="*/ 756760 h 6858000"/>
              <a:gd name="connsiteX1" fmla="*/ 11678975 w 12191999"/>
              <a:gd name="connsiteY1" fmla="*/ 761119 h 6858000"/>
              <a:gd name="connsiteX2" fmla="*/ 11678975 w 12191999"/>
              <a:gd name="connsiteY2" fmla="*/ 808195 h 6858000"/>
              <a:gd name="connsiteX3" fmla="*/ 11678845 w 12191999"/>
              <a:gd name="connsiteY3" fmla="*/ 808195 h 6858000"/>
              <a:gd name="connsiteX4" fmla="*/ 11667095 w 12191999"/>
              <a:gd name="connsiteY4" fmla="*/ 813579 h 6858000"/>
              <a:gd name="connsiteX5" fmla="*/ 11644998 w 12191999"/>
              <a:gd name="connsiteY5" fmla="*/ 784080 h 6858000"/>
              <a:gd name="connsiteX6" fmla="*/ 11666200 w 12191999"/>
              <a:gd name="connsiteY6" fmla="*/ 756760 h 6858000"/>
              <a:gd name="connsiteX7" fmla="*/ 11553608 w 12191999"/>
              <a:gd name="connsiteY7" fmla="*/ 755951 h 6858000"/>
              <a:gd name="connsiteX8" fmla="*/ 11565369 w 12191999"/>
              <a:gd name="connsiteY8" fmla="*/ 760439 h 6858000"/>
              <a:gd name="connsiteX9" fmla="*/ 11571638 w 12191999"/>
              <a:gd name="connsiteY9" fmla="*/ 784954 h 6858000"/>
              <a:gd name="connsiteX10" fmla="*/ 11565369 w 12191999"/>
              <a:gd name="connsiteY10" fmla="*/ 809339 h 6858000"/>
              <a:gd name="connsiteX11" fmla="*/ 11553608 w 12191999"/>
              <a:gd name="connsiteY11" fmla="*/ 813698 h 6858000"/>
              <a:gd name="connsiteX12" fmla="*/ 11542106 w 12191999"/>
              <a:gd name="connsiteY12" fmla="*/ 809339 h 6858000"/>
              <a:gd name="connsiteX13" fmla="*/ 11535837 w 12191999"/>
              <a:gd name="connsiteY13" fmla="*/ 784954 h 6858000"/>
              <a:gd name="connsiteX14" fmla="*/ 11542106 w 12191999"/>
              <a:gd name="connsiteY14" fmla="*/ 760439 h 6858000"/>
              <a:gd name="connsiteX15" fmla="*/ 11553608 w 12191999"/>
              <a:gd name="connsiteY15" fmla="*/ 755951 h 6858000"/>
              <a:gd name="connsiteX16" fmla="*/ 11389948 w 12191999"/>
              <a:gd name="connsiteY16" fmla="*/ 755951 h 6858000"/>
              <a:gd name="connsiteX17" fmla="*/ 11401504 w 12191999"/>
              <a:gd name="connsiteY17" fmla="*/ 760439 h 6858000"/>
              <a:gd name="connsiteX18" fmla="*/ 11407795 w 12191999"/>
              <a:gd name="connsiteY18" fmla="*/ 784954 h 6858000"/>
              <a:gd name="connsiteX19" fmla="*/ 11401504 w 12191999"/>
              <a:gd name="connsiteY19" fmla="*/ 809339 h 6858000"/>
              <a:gd name="connsiteX20" fmla="*/ 11389948 w 12191999"/>
              <a:gd name="connsiteY20" fmla="*/ 813698 h 6858000"/>
              <a:gd name="connsiteX21" fmla="*/ 11378133 w 12191999"/>
              <a:gd name="connsiteY21" fmla="*/ 809339 h 6858000"/>
              <a:gd name="connsiteX22" fmla="*/ 11371843 w 12191999"/>
              <a:gd name="connsiteY22" fmla="*/ 784954 h 6858000"/>
              <a:gd name="connsiteX23" fmla="*/ 11378133 w 12191999"/>
              <a:gd name="connsiteY23" fmla="*/ 760439 h 6858000"/>
              <a:gd name="connsiteX24" fmla="*/ 11389948 w 12191999"/>
              <a:gd name="connsiteY24" fmla="*/ 755951 h 6858000"/>
              <a:gd name="connsiteX25" fmla="*/ 11267462 w 12191999"/>
              <a:gd name="connsiteY25" fmla="*/ 755951 h 6858000"/>
              <a:gd name="connsiteX26" fmla="*/ 11279148 w 12191999"/>
              <a:gd name="connsiteY26" fmla="*/ 760439 h 6858000"/>
              <a:gd name="connsiteX27" fmla="*/ 11285438 w 12191999"/>
              <a:gd name="connsiteY27" fmla="*/ 784954 h 6858000"/>
              <a:gd name="connsiteX28" fmla="*/ 11279148 w 12191999"/>
              <a:gd name="connsiteY28" fmla="*/ 809339 h 6858000"/>
              <a:gd name="connsiteX29" fmla="*/ 11267462 w 12191999"/>
              <a:gd name="connsiteY29" fmla="*/ 813698 h 6858000"/>
              <a:gd name="connsiteX30" fmla="*/ 11255907 w 12191999"/>
              <a:gd name="connsiteY30" fmla="*/ 809339 h 6858000"/>
              <a:gd name="connsiteX31" fmla="*/ 11249616 w 12191999"/>
              <a:gd name="connsiteY31" fmla="*/ 784954 h 6858000"/>
              <a:gd name="connsiteX32" fmla="*/ 11255907 w 12191999"/>
              <a:gd name="connsiteY32" fmla="*/ 760439 h 6858000"/>
              <a:gd name="connsiteX33" fmla="*/ 11267462 w 12191999"/>
              <a:gd name="connsiteY33" fmla="*/ 755951 h 6858000"/>
              <a:gd name="connsiteX34" fmla="*/ 11708668 w 12191999"/>
              <a:gd name="connsiteY34" fmla="*/ 750005 h 6858000"/>
              <a:gd name="connsiteX35" fmla="*/ 11706381 w 12191999"/>
              <a:gd name="connsiteY35" fmla="*/ 752433 h 6858000"/>
              <a:gd name="connsiteX36" fmla="*/ 11706381 w 12191999"/>
              <a:gd name="connsiteY36" fmla="*/ 817032 h 6858000"/>
              <a:gd name="connsiteX37" fmla="*/ 11708420 w 12191999"/>
              <a:gd name="connsiteY37" fmla="*/ 819459 h 6858000"/>
              <a:gd name="connsiteX38" fmla="*/ 11715671 w 12191999"/>
              <a:gd name="connsiteY38" fmla="*/ 819459 h 6858000"/>
              <a:gd name="connsiteX39" fmla="*/ 11718206 w 12191999"/>
              <a:gd name="connsiteY39" fmla="*/ 817032 h 6858000"/>
              <a:gd name="connsiteX40" fmla="*/ 11718206 w 12191999"/>
              <a:gd name="connsiteY40" fmla="*/ 752433 h 6858000"/>
              <a:gd name="connsiteX41" fmla="*/ 11715660 w 12191999"/>
              <a:gd name="connsiteY41" fmla="*/ 750005 h 6858000"/>
              <a:gd name="connsiteX42" fmla="*/ 11708668 w 12191999"/>
              <a:gd name="connsiteY42" fmla="*/ 750005 h 6858000"/>
              <a:gd name="connsiteX43" fmla="*/ 11826514 w 12191999"/>
              <a:gd name="connsiteY43" fmla="*/ 749671 h 6858000"/>
              <a:gd name="connsiteX44" fmla="*/ 11822404 w 12191999"/>
              <a:gd name="connsiteY44" fmla="*/ 751851 h 6858000"/>
              <a:gd name="connsiteX45" fmla="*/ 11798623 w 12191999"/>
              <a:gd name="connsiteY45" fmla="*/ 781695 h 6858000"/>
              <a:gd name="connsiteX46" fmla="*/ 11798105 w 12191999"/>
              <a:gd name="connsiteY46" fmla="*/ 782461 h 6858000"/>
              <a:gd name="connsiteX47" fmla="*/ 11798234 w 12191999"/>
              <a:gd name="connsiteY47" fmla="*/ 783227 h 6858000"/>
              <a:gd name="connsiteX48" fmla="*/ 11822145 w 12191999"/>
              <a:gd name="connsiteY48" fmla="*/ 817420 h 6858000"/>
              <a:gd name="connsiteX49" fmla="*/ 11826126 w 12191999"/>
              <a:gd name="connsiteY49" fmla="*/ 819470 h 6858000"/>
              <a:gd name="connsiteX50" fmla="*/ 11835254 w 12191999"/>
              <a:gd name="connsiteY50" fmla="*/ 819470 h 6858000"/>
              <a:gd name="connsiteX51" fmla="*/ 11837175 w 12191999"/>
              <a:gd name="connsiteY51" fmla="*/ 817798 h 6858000"/>
              <a:gd name="connsiteX52" fmla="*/ 11836279 w 12191999"/>
              <a:gd name="connsiteY52" fmla="*/ 816136 h 6858000"/>
              <a:gd name="connsiteX53" fmla="*/ 11810826 w 12191999"/>
              <a:gd name="connsiteY53" fmla="*/ 782450 h 6858000"/>
              <a:gd name="connsiteX54" fmla="*/ 11810567 w 12191999"/>
              <a:gd name="connsiteY54" fmla="*/ 782192 h 6858000"/>
              <a:gd name="connsiteX55" fmla="*/ 11834607 w 12191999"/>
              <a:gd name="connsiteY55" fmla="*/ 753890 h 6858000"/>
              <a:gd name="connsiteX56" fmla="*/ 11835254 w 12191999"/>
              <a:gd name="connsiteY56" fmla="*/ 751203 h 6858000"/>
              <a:gd name="connsiteX57" fmla="*/ 11832816 w 12191999"/>
              <a:gd name="connsiteY57" fmla="*/ 749671 h 6858000"/>
              <a:gd name="connsiteX58" fmla="*/ 11826514 w 12191999"/>
              <a:gd name="connsiteY58" fmla="*/ 749671 h 6858000"/>
              <a:gd name="connsiteX59" fmla="*/ 11301634 w 12191999"/>
              <a:gd name="connsiteY59" fmla="*/ 749671 h 6858000"/>
              <a:gd name="connsiteX60" fmla="*/ 11299832 w 12191999"/>
              <a:gd name="connsiteY60" fmla="*/ 751462 h 6858000"/>
              <a:gd name="connsiteX61" fmla="*/ 11300350 w 12191999"/>
              <a:gd name="connsiteY61" fmla="*/ 753383 h 6858000"/>
              <a:gd name="connsiteX62" fmla="*/ 11324605 w 12191999"/>
              <a:gd name="connsiteY62" fmla="*/ 817399 h 6858000"/>
              <a:gd name="connsiteX63" fmla="*/ 11326785 w 12191999"/>
              <a:gd name="connsiteY63" fmla="*/ 819449 h 6858000"/>
              <a:gd name="connsiteX64" fmla="*/ 11332050 w 12191999"/>
              <a:gd name="connsiteY64" fmla="*/ 819449 h 6858000"/>
              <a:gd name="connsiteX65" fmla="*/ 11334489 w 12191999"/>
              <a:gd name="connsiteY65" fmla="*/ 817399 h 6858000"/>
              <a:gd name="connsiteX66" fmla="*/ 11358108 w 12191999"/>
              <a:gd name="connsiteY66" fmla="*/ 753135 h 6858000"/>
              <a:gd name="connsiteX67" fmla="*/ 11358366 w 12191999"/>
              <a:gd name="connsiteY67" fmla="*/ 751085 h 6858000"/>
              <a:gd name="connsiteX68" fmla="*/ 11356694 w 12191999"/>
              <a:gd name="connsiteY68" fmla="*/ 749671 h 6858000"/>
              <a:gd name="connsiteX69" fmla="*/ 11350015 w 12191999"/>
              <a:gd name="connsiteY69" fmla="*/ 749671 h 6858000"/>
              <a:gd name="connsiteX70" fmla="*/ 11348343 w 12191999"/>
              <a:gd name="connsiteY70" fmla="*/ 751592 h 6858000"/>
              <a:gd name="connsiteX71" fmla="*/ 11330885 w 12191999"/>
              <a:gd name="connsiteY71" fmla="*/ 802908 h 6858000"/>
              <a:gd name="connsiteX72" fmla="*/ 11312920 w 12191999"/>
              <a:gd name="connsiteY72" fmla="*/ 751851 h 6858000"/>
              <a:gd name="connsiteX73" fmla="*/ 11309845 w 12191999"/>
              <a:gd name="connsiteY73" fmla="*/ 749671 h 6858000"/>
              <a:gd name="connsiteX74" fmla="*/ 11301634 w 12191999"/>
              <a:gd name="connsiteY74" fmla="*/ 749671 h 6858000"/>
              <a:gd name="connsiteX75" fmla="*/ 11754223 w 12191999"/>
              <a:gd name="connsiteY75" fmla="*/ 748506 h 6858000"/>
              <a:gd name="connsiteX76" fmla="*/ 11731241 w 12191999"/>
              <a:gd name="connsiteY76" fmla="*/ 767625 h 6858000"/>
              <a:gd name="connsiteX77" fmla="*/ 11749346 w 12191999"/>
              <a:gd name="connsiteY77" fmla="*/ 788417 h 6858000"/>
              <a:gd name="connsiteX78" fmla="*/ 11764236 w 12191999"/>
              <a:gd name="connsiteY78" fmla="*/ 801894 h 6858000"/>
              <a:gd name="connsiteX79" fmla="*/ 11750500 w 12191999"/>
              <a:gd name="connsiteY79" fmla="*/ 813698 h 6858000"/>
              <a:gd name="connsiteX80" fmla="*/ 11733679 w 12191999"/>
              <a:gd name="connsiteY80" fmla="*/ 806641 h 6858000"/>
              <a:gd name="connsiteX81" fmla="*/ 11728673 w 12191999"/>
              <a:gd name="connsiteY81" fmla="*/ 811130 h 6858000"/>
              <a:gd name="connsiteX82" fmla="*/ 11750241 w 12191999"/>
              <a:gd name="connsiteY82" fmla="*/ 821402 h 6858000"/>
              <a:gd name="connsiteX83" fmla="*/ 11774896 w 12191999"/>
              <a:gd name="connsiteY83" fmla="*/ 800610 h 6858000"/>
              <a:gd name="connsiteX84" fmla="*/ 11741901 w 12191999"/>
              <a:gd name="connsiteY84" fmla="*/ 766471 h 6858000"/>
              <a:gd name="connsiteX85" fmla="*/ 11753457 w 12191999"/>
              <a:gd name="connsiteY85" fmla="*/ 756199 h 6858000"/>
              <a:gd name="connsiteX86" fmla="*/ 11767322 w 12191999"/>
              <a:gd name="connsiteY86" fmla="*/ 761335 h 6858000"/>
              <a:gd name="connsiteX87" fmla="*/ 11772328 w 12191999"/>
              <a:gd name="connsiteY87" fmla="*/ 756587 h 6858000"/>
              <a:gd name="connsiteX88" fmla="*/ 11754223 w 12191999"/>
              <a:gd name="connsiteY88" fmla="*/ 748506 h 6858000"/>
              <a:gd name="connsiteX89" fmla="*/ 11614257 w 12191999"/>
              <a:gd name="connsiteY89" fmla="*/ 748117 h 6858000"/>
              <a:gd name="connsiteX90" fmla="*/ 11599001 w 12191999"/>
              <a:gd name="connsiteY90" fmla="*/ 750167 h 6858000"/>
              <a:gd name="connsiteX91" fmla="*/ 11592721 w 12191999"/>
              <a:gd name="connsiteY91" fmla="*/ 755659 h 6858000"/>
              <a:gd name="connsiteX92" fmla="*/ 11592721 w 12191999"/>
              <a:gd name="connsiteY92" fmla="*/ 816902 h 6858000"/>
              <a:gd name="connsiteX93" fmla="*/ 11595418 w 12191999"/>
              <a:gd name="connsiteY93" fmla="*/ 819071 h 6858000"/>
              <a:gd name="connsiteX94" fmla="*/ 11602216 w 12191999"/>
              <a:gd name="connsiteY94" fmla="*/ 819071 h 6858000"/>
              <a:gd name="connsiteX95" fmla="*/ 11604654 w 12191999"/>
              <a:gd name="connsiteY95" fmla="*/ 816902 h 6858000"/>
              <a:gd name="connsiteX96" fmla="*/ 11604654 w 12191999"/>
              <a:gd name="connsiteY96" fmla="*/ 760774 h 6858000"/>
              <a:gd name="connsiteX97" fmla="*/ 11611452 w 12191999"/>
              <a:gd name="connsiteY97" fmla="*/ 754764 h 6858000"/>
              <a:gd name="connsiteX98" fmla="*/ 11625943 w 12191999"/>
              <a:gd name="connsiteY98" fmla="*/ 761033 h 6858000"/>
              <a:gd name="connsiteX99" fmla="*/ 11631823 w 12191999"/>
              <a:gd name="connsiteY99" fmla="*/ 755152 h 6858000"/>
              <a:gd name="connsiteX100" fmla="*/ 11614257 w 12191999"/>
              <a:gd name="connsiteY100" fmla="*/ 748117 h 6858000"/>
              <a:gd name="connsiteX101" fmla="*/ 11553619 w 12191999"/>
              <a:gd name="connsiteY101" fmla="*/ 748117 h 6858000"/>
              <a:gd name="connsiteX102" fmla="*/ 11536236 w 12191999"/>
              <a:gd name="connsiteY102" fmla="*/ 753124 h 6858000"/>
              <a:gd name="connsiteX103" fmla="*/ 11523450 w 12191999"/>
              <a:gd name="connsiteY103" fmla="*/ 784954 h 6858000"/>
              <a:gd name="connsiteX104" fmla="*/ 11536236 w 12191999"/>
              <a:gd name="connsiteY104" fmla="*/ 816654 h 6858000"/>
              <a:gd name="connsiteX105" fmla="*/ 11553619 w 12191999"/>
              <a:gd name="connsiteY105" fmla="*/ 821531 h 6858000"/>
              <a:gd name="connsiteX106" fmla="*/ 11571001 w 12191999"/>
              <a:gd name="connsiteY106" fmla="*/ 816654 h 6858000"/>
              <a:gd name="connsiteX107" fmla="*/ 11583917 w 12191999"/>
              <a:gd name="connsiteY107" fmla="*/ 784954 h 6858000"/>
              <a:gd name="connsiteX108" fmla="*/ 11571001 w 12191999"/>
              <a:gd name="connsiteY108" fmla="*/ 753124 h 6858000"/>
              <a:gd name="connsiteX109" fmla="*/ 11553619 w 12191999"/>
              <a:gd name="connsiteY109" fmla="*/ 748117 h 6858000"/>
              <a:gd name="connsiteX110" fmla="*/ 11486031 w 12191999"/>
              <a:gd name="connsiteY110" fmla="*/ 748117 h 6858000"/>
              <a:gd name="connsiteX111" fmla="*/ 11465229 w 12191999"/>
              <a:gd name="connsiteY111" fmla="*/ 751452 h 6858000"/>
              <a:gd name="connsiteX112" fmla="*/ 11459230 w 12191999"/>
              <a:gd name="connsiteY112" fmla="*/ 756965 h 6858000"/>
              <a:gd name="connsiteX113" fmla="*/ 11459230 w 12191999"/>
              <a:gd name="connsiteY113" fmla="*/ 817010 h 6858000"/>
              <a:gd name="connsiteX114" fmla="*/ 11461787 w 12191999"/>
              <a:gd name="connsiteY114" fmla="*/ 819449 h 6858000"/>
              <a:gd name="connsiteX115" fmla="*/ 11468422 w 12191999"/>
              <a:gd name="connsiteY115" fmla="*/ 819449 h 6858000"/>
              <a:gd name="connsiteX116" fmla="*/ 11471228 w 12191999"/>
              <a:gd name="connsiteY116" fmla="*/ 816751 h 6858000"/>
              <a:gd name="connsiteX117" fmla="*/ 11471228 w 12191999"/>
              <a:gd name="connsiteY117" fmla="*/ 761454 h 6858000"/>
              <a:gd name="connsiteX118" fmla="*/ 11485654 w 12191999"/>
              <a:gd name="connsiteY118" fmla="*/ 755422 h 6858000"/>
              <a:gd name="connsiteX119" fmla="*/ 11501223 w 12191999"/>
              <a:gd name="connsiteY119" fmla="*/ 771844 h 6858000"/>
              <a:gd name="connsiteX120" fmla="*/ 11501223 w 12191999"/>
              <a:gd name="connsiteY120" fmla="*/ 816751 h 6858000"/>
              <a:gd name="connsiteX121" fmla="*/ 11504288 w 12191999"/>
              <a:gd name="connsiteY121" fmla="*/ 819449 h 6858000"/>
              <a:gd name="connsiteX122" fmla="*/ 11511690 w 12191999"/>
              <a:gd name="connsiteY122" fmla="*/ 819449 h 6858000"/>
              <a:gd name="connsiteX123" fmla="*/ 11512963 w 12191999"/>
              <a:gd name="connsiteY123" fmla="*/ 816762 h 6858000"/>
              <a:gd name="connsiteX124" fmla="*/ 11512963 w 12191999"/>
              <a:gd name="connsiteY124" fmla="*/ 770312 h 6858000"/>
              <a:gd name="connsiteX125" fmla="*/ 11486031 w 12191999"/>
              <a:gd name="connsiteY125" fmla="*/ 748117 h 6858000"/>
              <a:gd name="connsiteX126" fmla="*/ 11389700 w 12191999"/>
              <a:gd name="connsiteY126" fmla="*/ 748117 h 6858000"/>
              <a:gd name="connsiteX127" fmla="*/ 11372242 w 12191999"/>
              <a:gd name="connsiteY127" fmla="*/ 753124 h 6858000"/>
              <a:gd name="connsiteX128" fmla="*/ 11359402 w 12191999"/>
              <a:gd name="connsiteY128" fmla="*/ 784954 h 6858000"/>
              <a:gd name="connsiteX129" fmla="*/ 11372242 w 12191999"/>
              <a:gd name="connsiteY129" fmla="*/ 816654 h 6858000"/>
              <a:gd name="connsiteX130" fmla="*/ 11389700 w 12191999"/>
              <a:gd name="connsiteY130" fmla="*/ 821531 h 6858000"/>
              <a:gd name="connsiteX131" fmla="*/ 11407158 w 12191999"/>
              <a:gd name="connsiteY131" fmla="*/ 816654 h 6858000"/>
              <a:gd name="connsiteX132" fmla="*/ 11420127 w 12191999"/>
              <a:gd name="connsiteY132" fmla="*/ 784954 h 6858000"/>
              <a:gd name="connsiteX133" fmla="*/ 11407158 w 12191999"/>
              <a:gd name="connsiteY133" fmla="*/ 753124 h 6858000"/>
              <a:gd name="connsiteX134" fmla="*/ 11389700 w 12191999"/>
              <a:gd name="connsiteY134" fmla="*/ 748117 h 6858000"/>
              <a:gd name="connsiteX135" fmla="*/ 11267473 w 12191999"/>
              <a:gd name="connsiteY135" fmla="*/ 748117 h 6858000"/>
              <a:gd name="connsiteX136" fmla="*/ 11250015 w 12191999"/>
              <a:gd name="connsiteY136" fmla="*/ 753124 h 6858000"/>
              <a:gd name="connsiteX137" fmla="*/ 11237046 w 12191999"/>
              <a:gd name="connsiteY137" fmla="*/ 784954 h 6858000"/>
              <a:gd name="connsiteX138" fmla="*/ 11250015 w 12191999"/>
              <a:gd name="connsiteY138" fmla="*/ 816654 h 6858000"/>
              <a:gd name="connsiteX139" fmla="*/ 11267473 w 12191999"/>
              <a:gd name="connsiteY139" fmla="*/ 821531 h 6858000"/>
              <a:gd name="connsiteX140" fmla="*/ 11284931 w 12191999"/>
              <a:gd name="connsiteY140" fmla="*/ 816654 h 6858000"/>
              <a:gd name="connsiteX141" fmla="*/ 11297771 w 12191999"/>
              <a:gd name="connsiteY141" fmla="*/ 784954 h 6858000"/>
              <a:gd name="connsiteX142" fmla="*/ 11284931 w 12191999"/>
              <a:gd name="connsiteY142" fmla="*/ 753124 h 6858000"/>
              <a:gd name="connsiteX143" fmla="*/ 11267473 w 12191999"/>
              <a:gd name="connsiteY143" fmla="*/ 748117 h 6858000"/>
              <a:gd name="connsiteX144" fmla="*/ 11199756 w 12191999"/>
              <a:gd name="connsiteY144" fmla="*/ 748117 h 6858000"/>
              <a:gd name="connsiteX145" fmla="*/ 11178857 w 12191999"/>
              <a:gd name="connsiteY145" fmla="*/ 751452 h 6858000"/>
              <a:gd name="connsiteX146" fmla="*/ 11172825 w 12191999"/>
              <a:gd name="connsiteY146" fmla="*/ 756965 h 6858000"/>
              <a:gd name="connsiteX147" fmla="*/ 11172825 w 12191999"/>
              <a:gd name="connsiteY147" fmla="*/ 817010 h 6858000"/>
              <a:gd name="connsiteX148" fmla="*/ 11175263 w 12191999"/>
              <a:gd name="connsiteY148" fmla="*/ 819449 h 6858000"/>
              <a:gd name="connsiteX149" fmla="*/ 11181932 w 12191999"/>
              <a:gd name="connsiteY149" fmla="*/ 819449 h 6858000"/>
              <a:gd name="connsiteX150" fmla="*/ 11184748 w 12191999"/>
              <a:gd name="connsiteY150" fmla="*/ 816751 h 6858000"/>
              <a:gd name="connsiteX151" fmla="*/ 11184748 w 12191999"/>
              <a:gd name="connsiteY151" fmla="*/ 761454 h 6858000"/>
              <a:gd name="connsiteX152" fmla="*/ 11199238 w 12191999"/>
              <a:gd name="connsiteY152" fmla="*/ 755422 h 6858000"/>
              <a:gd name="connsiteX153" fmla="*/ 11214884 w 12191999"/>
              <a:gd name="connsiteY153" fmla="*/ 771844 h 6858000"/>
              <a:gd name="connsiteX154" fmla="*/ 11214884 w 12191999"/>
              <a:gd name="connsiteY154" fmla="*/ 816751 h 6858000"/>
              <a:gd name="connsiteX155" fmla="*/ 11217959 w 12191999"/>
              <a:gd name="connsiteY155" fmla="*/ 819449 h 6858000"/>
              <a:gd name="connsiteX156" fmla="*/ 11225393 w 12191999"/>
              <a:gd name="connsiteY156" fmla="*/ 819449 h 6858000"/>
              <a:gd name="connsiteX157" fmla="*/ 11226817 w 12191999"/>
              <a:gd name="connsiteY157" fmla="*/ 816762 h 6858000"/>
              <a:gd name="connsiteX158" fmla="*/ 11226817 w 12191999"/>
              <a:gd name="connsiteY158" fmla="*/ 770312 h 6858000"/>
              <a:gd name="connsiteX159" fmla="*/ 11199756 w 12191999"/>
              <a:gd name="connsiteY159" fmla="*/ 748117 h 6858000"/>
              <a:gd name="connsiteX160" fmla="*/ 11681273 w 12191999"/>
              <a:gd name="connsiteY160" fmla="*/ 724801 h 6858000"/>
              <a:gd name="connsiteX161" fmla="*/ 11678845 w 12191999"/>
              <a:gd name="connsiteY161" fmla="*/ 727876 h 6858000"/>
              <a:gd name="connsiteX162" fmla="*/ 11678845 w 12191999"/>
              <a:gd name="connsiteY162" fmla="*/ 752250 h 6858000"/>
              <a:gd name="connsiteX163" fmla="*/ 11664279 w 12191999"/>
              <a:gd name="connsiteY163" fmla="*/ 748527 h 6858000"/>
              <a:gd name="connsiteX164" fmla="*/ 11632848 w 12191999"/>
              <a:gd name="connsiteY164" fmla="*/ 784954 h 6858000"/>
              <a:gd name="connsiteX165" fmla="*/ 11666707 w 12191999"/>
              <a:gd name="connsiteY165" fmla="*/ 821510 h 6858000"/>
              <a:gd name="connsiteX166" fmla="*/ 11690477 w 12191999"/>
              <a:gd name="connsiteY166" fmla="*/ 812036 h 6858000"/>
              <a:gd name="connsiteX167" fmla="*/ 11690477 w 12191999"/>
              <a:gd name="connsiteY167" fmla="*/ 727498 h 6858000"/>
              <a:gd name="connsiteX168" fmla="*/ 11687919 w 12191999"/>
              <a:gd name="connsiteY168" fmla="*/ 724801 h 6858000"/>
              <a:gd name="connsiteX169" fmla="*/ 11681273 w 12191999"/>
              <a:gd name="connsiteY169" fmla="*/ 724801 h 6858000"/>
              <a:gd name="connsiteX170" fmla="*/ 11786797 w 12191999"/>
              <a:gd name="connsiteY170" fmla="*/ 724552 h 6858000"/>
              <a:gd name="connsiteX171" fmla="*/ 11784607 w 12191999"/>
              <a:gd name="connsiteY171" fmla="*/ 726732 h 6858000"/>
              <a:gd name="connsiteX172" fmla="*/ 11784607 w 12191999"/>
              <a:gd name="connsiteY172" fmla="*/ 817280 h 6858000"/>
              <a:gd name="connsiteX173" fmla="*/ 11786797 w 12191999"/>
              <a:gd name="connsiteY173" fmla="*/ 819330 h 6858000"/>
              <a:gd name="connsiteX174" fmla="*/ 11793864 w 12191999"/>
              <a:gd name="connsiteY174" fmla="*/ 819330 h 6858000"/>
              <a:gd name="connsiteX175" fmla="*/ 11796303 w 12191999"/>
              <a:gd name="connsiteY175" fmla="*/ 817409 h 6858000"/>
              <a:gd name="connsiteX176" fmla="*/ 11796303 w 12191999"/>
              <a:gd name="connsiteY176" fmla="*/ 726473 h 6858000"/>
              <a:gd name="connsiteX177" fmla="*/ 11793864 w 12191999"/>
              <a:gd name="connsiteY177" fmla="*/ 724552 h 6858000"/>
              <a:gd name="connsiteX178" fmla="*/ 11786797 w 12191999"/>
              <a:gd name="connsiteY178" fmla="*/ 724552 h 6858000"/>
              <a:gd name="connsiteX179" fmla="*/ 11712617 w 12191999"/>
              <a:gd name="connsiteY179" fmla="*/ 723776 h 6858000"/>
              <a:gd name="connsiteX180" fmla="*/ 11705237 w 12191999"/>
              <a:gd name="connsiteY180" fmla="*/ 730940 h 6858000"/>
              <a:gd name="connsiteX181" fmla="*/ 11712358 w 12191999"/>
              <a:gd name="connsiteY181" fmla="*/ 737975 h 6858000"/>
              <a:gd name="connsiteX182" fmla="*/ 11719609 w 12191999"/>
              <a:gd name="connsiteY182" fmla="*/ 730433 h 6858000"/>
              <a:gd name="connsiteX183" fmla="*/ 11712617 w 12191999"/>
              <a:gd name="connsiteY183" fmla="*/ 723776 h 6858000"/>
              <a:gd name="connsiteX184" fmla="*/ 11855021 w 12191999"/>
              <a:gd name="connsiteY184" fmla="*/ 713601 h 6858000"/>
              <a:gd name="connsiteX185" fmla="*/ 11855284 w 12191999"/>
              <a:gd name="connsiteY185" fmla="*/ 713794 h 6858000"/>
              <a:gd name="connsiteX186" fmla="*/ 11855021 w 12191999"/>
              <a:gd name="connsiteY186" fmla="*/ 713860 h 6858000"/>
              <a:gd name="connsiteX187" fmla="*/ 11855021 w 12191999"/>
              <a:gd name="connsiteY187" fmla="*/ 713601 h 6858000"/>
              <a:gd name="connsiteX188" fmla="*/ 11847209 w 12191999"/>
              <a:gd name="connsiteY188" fmla="*/ 704235 h 6858000"/>
              <a:gd name="connsiteX189" fmla="*/ 11851428 w 12191999"/>
              <a:gd name="connsiteY189" fmla="*/ 704235 h 6858000"/>
              <a:gd name="connsiteX190" fmla="*/ 11857190 w 12191999"/>
              <a:gd name="connsiteY190" fmla="*/ 707699 h 6858000"/>
              <a:gd name="connsiteX191" fmla="*/ 11851817 w 12191999"/>
              <a:gd name="connsiteY191" fmla="*/ 711162 h 6858000"/>
              <a:gd name="connsiteX192" fmla="*/ 11847209 w 12191999"/>
              <a:gd name="connsiteY192" fmla="*/ 711162 h 6858000"/>
              <a:gd name="connsiteX193" fmla="*/ 11843627 w 12191999"/>
              <a:gd name="connsiteY193" fmla="*/ 701020 h 6858000"/>
              <a:gd name="connsiteX194" fmla="*/ 11843627 w 12191999"/>
              <a:gd name="connsiteY194" fmla="*/ 724250 h 6858000"/>
              <a:gd name="connsiteX195" fmla="*/ 11847468 w 12191999"/>
              <a:gd name="connsiteY195" fmla="*/ 724250 h 6858000"/>
              <a:gd name="connsiteX196" fmla="*/ 11847468 w 12191999"/>
              <a:gd name="connsiteY196" fmla="*/ 714367 h 6858000"/>
              <a:gd name="connsiteX197" fmla="*/ 11849648 w 12191999"/>
              <a:gd name="connsiteY197" fmla="*/ 714367 h 6858000"/>
              <a:gd name="connsiteX198" fmla="*/ 11856553 w 12191999"/>
              <a:gd name="connsiteY198" fmla="*/ 720528 h 6858000"/>
              <a:gd name="connsiteX199" fmla="*/ 11858603 w 12191999"/>
              <a:gd name="connsiteY199" fmla="*/ 724121 h 6858000"/>
              <a:gd name="connsiteX200" fmla="*/ 11863081 w 12191999"/>
              <a:gd name="connsiteY200" fmla="*/ 724121 h 6858000"/>
              <a:gd name="connsiteX201" fmla="*/ 11860265 w 12191999"/>
              <a:gd name="connsiteY201" fmla="*/ 719503 h 6858000"/>
              <a:gd name="connsiteX202" fmla="*/ 11857064 w 12191999"/>
              <a:gd name="connsiteY202" fmla="*/ 715107 h 6858000"/>
              <a:gd name="connsiteX203" fmla="*/ 11855284 w 12191999"/>
              <a:gd name="connsiteY203" fmla="*/ 713794 h 6858000"/>
              <a:gd name="connsiteX204" fmla="*/ 11858039 w 12191999"/>
              <a:gd name="connsiteY204" fmla="*/ 713107 h 6858000"/>
              <a:gd name="connsiteX205" fmla="*/ 11861549 w 12191999"/>
              <a:gd name="connsiteY205" fmla="*/ 707310 h 6858000"/>
              <a:gd name="connsiteX206" fmla="*/ 11859370 w 12191999"/>
              <a:gd name="connsiteY206" fmla="*/ 702822 h 6858000"/>
              <a:gd name="connsiteX207" fmla="*/ 11851817 w 12191999"/>
              <a:gd name="connsiteY207" fmla="*/ 701020 h 6858000"/>
              <a:gd name="connsiteX208" fmla="*/ 11843627 w 12191999"/>
              <a:gd name="connsiteY208" fmla="*/ 701020 h 6858000"/>
              <a:gd name="connsiteX209" fmla="*/ 11852712 w 12191999"/>
              <a:gd name="connsiteY209" fmla="*/ 694611 h 6858000"/>
              <a:gd name="connsiteX210" fmla="*/ 11870623 w 12191999"/>
              <a:gd name="connsiteY210" fmla="*/ 712446 h 6858000"/>
              <a:gd name="connsiteX211" fmla="*/ 11852712 w 12191999"/>
              <a:gd name="connsiteY211" fmla="*/ 730541 h 6858000"/>
              <a:gd name="connsiteX212" fmla="*/ 11834931 w 12191999"/>
              <a:gd name="connsiteY212" fmla="*/ 712446 h 6858000"/>
              <a:gd name="connsiteX213" fmla="*/ 11852712 w 12191999"/>
              <a:gd name="connsiteY213" fmla="*/ 694611 h 6858000"/>
              <a:gd name="connsiteX214" fmla="*/ 11852712 w 12191999"/>
              <a:gd name="connsiteY214" fmla="*/ 690888 h 6858000"/>
              <a:gd name="connsiteX215" fmla="*/ 11831348 w 12191999"/>
              <a:gd name="connsiteY215" fmla="*/ 712446 h 6858000"/>
              <a:gd name="connsiteX216" fmla="*/ 11852712 w 12191999"/>
              <a:gd name="connsiteY216" fmla="*/ 734004 h 6858000"/>
              <a:gd name="connsiteX217" fmla="*/ 11874076 w 12191999"/>
              <a:gd name="connsiteY217" fmla="*/ 712446 h 6858000"/>
              <a:gd name="connsiteX218" fmla="*/ 11852712 w 12191999"/>
              <a:gd name="connsiteY218" fmla="*/ 690888 h 6858000"/>
              <a:gd name="connsiteX219" fmla="*/ 11639380 w 12191999"/>
              <a:gd name="connsiteY219" fmla="*/ 551044 h 6858000"/>
              <a:gd name="connsiteX220" fmla="*/ 11641189 w 12191999"/>
              <a:gd name="connsiteY220" fmla="*/ 551862 h 6858000"/>
              <a:gd name="connsiteX221" fmla="*/ 11644652 w 12191999"/>
              <a:gd name="connsiteY221" fmla="*/ 634274 h 6858000"/>
              <a:gd name="connsiteX222" fmla="*/ 11640682 w 12191999"/>
              <a:gd name="connsiteY222" fmla="*/ 633508 h 6858000"/>
              <a:gd name="connsiteX223" fmla="*/ 11634273 w 12191999"/>
              <a:gd name="connsiteY223" fmla="*/ 599671 h 6858000"/>
              <a:gd name="connsiteX224" fmla="*/ 11638243 w 12191999"/>
              <a:gd name="connsiteY224" fmla="*/ 552250 h 6858000"/>
              <a:gd name="connsiteX225" fmla="*/ 11639380 w 12191999"/>
              <a:gd name="connsiteY225" fmla="*/ 551044 h 6858000"/>
              <a:gd name="connsiteX226" fmla="*/ 11490639 w 12191999"/>
              <a:gd name="connsiteY226" fmla="*/ 502002 h 6858000"/>
              <a:gd name="connsiteX227" fmla="*/ 11550015 w 12191999"/>
              <a:gd name="connsiteY227" fmla="*/ 504052 h 6858000"/>
              <a:gd name="connsiteX228" fmla="*/ 11548343 w 12191999"/>
              <a:gd name="connsiteY228" fmla="*/ 536605 h 6858000"/>
              <a:gd name="connsiteX229" fmla="*/ 11499486 w 12191999"/>
              <a:gd name="connsiteY229" fmla="*/ 541094 h 6858000"/>
              <a:gd name="connsiteX230" fmla="*/ 11492948 w 12191999"/>
              <a:gd name="connsiteY230" fmla="*/ 533659 h 6858000"/>
              <a:gd name="connsiteX231" fmla="*/ 11490639 w 12191999"/>
              <a:gd name="connsiteY231" fmla="*/ 502002 h 6858000"/>
              <a:gd name="connsiteX232" fmla="*/ 11594253 w 12191999"/>
              <a:gd name="connsiteY232" fmla="*/ 498797 h 6858000"/>
              <a:gd name="connsiteX233" fmla="*/ 11598612 w 12191999"/>
              <a:gd name="connsiteY233" fmla="*/ 520075 h 6858000"/>
              <a:gd name="connsiteX234" fmla="*/ 11588351 w 12191999"/>
              <a:gd name="connsiteY234" fmla="*/ 527509 h 6858000"/>
              <a:gd name="connsiteX235" fmla="*/ 11580011 w 12191999"/>
              <a:gd name="connsiteY235" fmla="*/ 500718 h 6858000"/>
              <a:gd name="connsiteX236" fmla="*/ 11594253 w 12191999"/>
              <a:gd name="connsiteY236" fmla="*/ 498797 h 6858000"/>
              <a:gd name="connsiteX237" fmla="*/ 11441405 w 12191999"/>
              <a:gd name="connsiteY237" fmla="*/ 491374 h 6858000"/>
              <a:gd name="connsiteX238" fmla="*/ 11460384 w 12191999"/>
              <a:gd name="connsiteY238" fmla="*/ 496499 h 6858000"/>
              <a:gd name="connsiteX239" fmla="*/ 11442948 w 12191999"/>
              <a:gd name="connsiteY239" fmla="*/ 533670 h 6858000"/>
              <a:gd name="connsiteX240" fmla="*/ 11434607 w 12191999"/>
              <a:gd name="connsiteY240" fmla="*/ 527132 h 6858000"/>
              <a:gd name="connsiteX241" fmla="*/ 11441405 w 12191999"/>
              <a:gd name="connsiteY241" fmla="*/ 491374 h 6858000"/>
              <a:gd name="connsiteX242" fmla="*/ 11419441 w 12191999"/>
              <a:gd name="connsiteY242" fmla="*/ 484343 h 6858000"/>
              <a:gd name="connsiteX243" fmla="*/ 11431543 w 12191999"/>
              <a:gd name="connsiteY243" fmla="*/ 488299 h 6858000"/>
              <a:gd name="connsiteX244" fmla="*/ 11423202 w 12191999"/>
              <a:gd name="connsiteY244" fmla="*/ 532257 h 6858000"/>
              <a:gd name="connsiteX245" fmla="*/ 11444102 w 12191999"/>
              <a:gd name="connsiteY245" fmla="*/ 543154 h 6858000"/>
              <a:gd name="connsiteX246" fmla="*/ 11469620 w 12191999"/>
              <a:gd name="connsiteY246" fmla="*/ 498549 h 6858000"/>
              <a:gd name="connsiteX247" fmla="*/ 11481672 w 12191999"/>
              <a:gd name="connsiteY247" fmla="*/ 500729 h 6858000"/>
              <a:gd name="connsiteX248" fmla="*/ 11485395 w 12191999"/>
              <a:gd name="connsiteY248" fmla="*/ 542507 h 6858000"/>
              <a:gd name="connsiteX249" fmla="*/ 11498472 w 12191999"/>
              <a:gd name="connsiteY249" fmla="*/ 550707 h 6858000"/>
              <a:gd name="connsiteX250" fmla="*/ 11555917 w 12191999"/>
              <a:gd name="connsiteY250" fmla="*/ 543532 h 6858000"/>
              <a:gd name="connsiteX251" fmla="*/ 11559122 w 12191999"/>
              <a:gd name="connsiteY251" fmla="*/ 503286 h 6858000"/>
              <a:gd name="connsiteX252" fmla="*/ 11570149 w 12191999"/>
              <a:gd name="connsiteY252" fmla="*/ 502002 h 6858000"/>
              <a:gd name="connsiteX253" fmla="*/ 11579385 w 12191999"/>
              <a:gd name="connsiteY253" fmla="*/ 528405 h 6858000"/>
              <a:gd name="connsiteX254" fmla="*/ 11598752 w 12191999"/>
              <a:gd name="connsiteY254" fmla="*/ 531739 h 6858000"/>
              <a:gd name="connsiteX255" fmla="*/ 11602723 w 12191999"/>
              <a:gd name="connsiteY255" fmla="*/ 497773 h 6858000"/>
              <a:gd name="connsiteX256" fmla="*/ 11625673 w 12191999"/>
              <a:gd name="connsiteY256" fmla="*/ 533282 h 6858000"/>
              <a:gd name="connsiteX257" fmla="*/ 11612855 w 12191999"/>
              <a:gd name="connsiteY257" fmla="*/ 586216 h 6858000"/>
              <a:gd name="connsiteX258" fmla="*/ 11537326 w 12191999"/>
              <a:gd name="connsiteY258" fmla="*/ 569428 h 6858000"/>
              <a:gd name="connsiteX259" fmla="*/ 11459488 w 12191999"/>
              <a:gd name="connsiteY259" fmla="*/ 611465 h 6858000"/>
              <a:gd name="connsiteX260" fmla="*/ 11456154 w 12191999"/>
              <a:gd name="connsiteY260" fmla="*/ 612360 h 6858000"/>
              <a:gd name="connsiteX261" fmla="*/ 11418325 w 12191999"/>
              <a:gd name="connsiteY261" fmla="*/ 585191 h 6858000"/>
              <a:gd name="connsiteX262" fmla="*/ 11388707 w 12191999"/>
              <a:gd name="connsiteY262" fmla="*/ 549434 h 6858000"/>
              <a:gd name="connsiteX263" fmla="*/ 11414743 w 12191999"/>
              <a:gd name="connsiteY263" fmla="*/ 487403 h 6858000"/>
              <a:gd name="connsiteX264" fmla="*/ 11419441 w 12191999"/>
              <a:gd name="connsiteY264" fmla="*/ 484343 h 6858000"/>
              <a:gd name="connsiteX265" fmla="*/ 11358173 w 12191999"/>
              <a:gd name="connsiteY265" fmla="*/ 469801 h 6858000"/>
              <a:gd name="connsiteX266" fmla="*/ 11346260 w 12191999"/>
              <a:gd name="connsiteY266" fmla="*/ 478275 h 6858000"/>
              <a:gd name="connsiteX267" fmla="*/ 11361744 w 12191999"/>
              <a:gd name="connsiteY267" fmla="*/ 470744 h 6858000"/>
              <a:gd name="connsiteX268" fmla="*/ 11358173 w 12191999"/>
              <a:gd name="connsiteY268" fmla="*/ 469801 h 6858000"/>
              <a:gd name="connsiteX269" fmla="*/ 11354455 w 12191999"/>
              <a:gd name="connsiteY269" fmla="*/ 453696 h 6858000"/>
              <a:gd name="connsiteX270" fmla="*/ 11379471 w 12191999"/>
              <a:gd name="connsiteY270" fmla="*/ 464453 h 6858000"/>
              <a:gd name="connsiteX271" fmla="*/ 11401267 w 12191999"/>
              <a:gd name="connsiteY271" fmla="*/ 487522 h 6858000"/>
              <a:gd name="connsiteX272" fmla="*/ 11376515 w 12191999"/>
              <a:gd name="connsiteY272" fmla="*/ 541611 h 6858000"/>
              <a:gd name="connsiteX273" fmla="*/ 11357665 w 12191999"/>
              <a:gd name="connsiteY273" fmla="*/ 511745 h 6858000"/>
              <a:gd name="connsiteX274" fmla="*/ 11330734 w 12191999"/>
              <a:gd name="connsiteY274" fmla="*/ 504052 h 6858000"/>
              <a:gd name="connsiteX275" fmla="*/ 11328166 w 12191999"/>
              <a:gd name="connsiteY275" fmla="*/ 491881 h 6858000"/>
              <a:gd name="connsiteX276" fmla="*/ 11335600 w 12191999"/>
              <a:gd name="connsiteY276" fmla="*/ 481879 h 6858000"/>
              <a:gd name="connsiteX277" fmla="*/ 11338297 w 12191999"/>
              <a:gd name="connsiteY277" fmla="*/ 470604 h 6858000"/>
              <a:gd name="connsiteX278" fmla="*/ 11349972 w 12191999"/>
              <a:gd name="connsiteY278" fmla="*/ 456124 h 6858000"/>
              <a:gd name="connsiteX279" fmla="*/ 11354455 w 12191999"/>
              <a:gd name="connsiteY279" fmla="*/ 453696 h 6858000"/>
              <a:gd name="connsiteX280" fmla="*/ 11324025 w 12191999"/>
              <a:gd name="connsiteY280" fmla="*/ 392924 h 6858000"/>
              <a:gd name="connsiteX281" fmla="*/ 11322134 w 12191999"/>
              <a:gd name="connsiteY281" fmla="*/ 400006 h 6858000"/>
              <a:gd name="connsiteX282" fmla="*/ 11335988 w 12191999"/>
              <a:gd name="connsiteY282" fmla="*/ 441536 h 6858000"/>
              <a:gd name="connsiteX283" fmla="*/ 11339193 w 12191999"/>
              <a:gd name="connsiteY283" fmla="*/ 451786 h 6858000"/>
              <a:gd name="connsiteX284" fmla="*/ 11328425 w 12191999"/>
              <a:gd name="connsiteY284" fmla="*/ 467162 h 6858000"/>
              <a:gd name="connsiteX285" fmla="*/ 11327270 w 12191999"/>
              <a:gd name="connsiteY285" fmla="*/ 474855 h 6858000"/>
              <a:gd name="connsiteX286" fmla="*/ 11315477 w 12191999"/>
              <a:gd name="connsiteY286" fmla="*/ 490748 h 6858000"/>
              <a:gd name="connsiteX287" fmla="*/ 11317268 w 12191999"/>
              <a:gd name="connsiteY287" fmla="*/ 503696 h 6858000"/>
              <a:gd name="connsiteX288" fmla="*/ 11327788 w 12191999"/>
              <a:gd name="connsiteY288" fmla="*/ 514594 h 6858000"/>
              <a:gd name="connsiteX289" fmla="*/ 11341890 w 12191999"/>
              <a:gd name="connsiteY289" fmla="*/ 516137 h 6858000"/>
              <a:gd name="connsiteX290" fmla="*/ 11358561 w 12191999"/>
              <a:gd name="connsiteY290" fmla="*/ 529214 h 6858000"/>
              <a:gd name="connsiteX291" fmla="*/ 11388308 w 12191999"/>
              <a:gd name="connsiteY291" fmla="*/ 580476 h 6858000"/>
              <a:gd name="connsiteX292" fmla="*/ 11394717 w 12191999"/>
              <a:gd name="connsiteY292" fmla="*/ 606490 h 6858000"/>
              <a:gd name="connsiteX293" fmla="*/ 11360611 w 12191999"/>
              <a:gd name="connsiteY293" fmla="*/ 709026 h 6858000"/>
              <a:gd name="connsiteX294" fmla="*/ 11362402 w 12191999"/>
              <a:gd name="connsiteY294" fmla="*/ 719406 h 6858000"/>
              <a:gd name="connsiteX295" fmla="*/ 11388567 w 12191999"/>
              <a:gd name="connsiteY295" fmla="*/ 719406 h 6858000"/>
              <a:gd name="connsiteX296" fmla="*/ 11394210 w 12191999"/>
              <a:gd name="connsiteY296" fmla="*/ 711972 h 6858000"/>
              <a:gd name="connsiteX297" fmla="*/ 11429094 w 12191999"/>
              <a:gd name="connsiteY297" fmla="*/ 608411 h 6858000"/>
              <a:gd name="connsiteX298" fmla="*/ 11464484 w 12191999"/>
              <a:gd name="connsiteY298" fmla="*/ 709921 h 6858000"/>
              <a:gd name="connsiteX299" fmla="*/ 11468207 w 12191999"/>
              <a:gd name="connsiteY299" fmla="*/ 719665 h 6858000"/>
              <a:gd name="connsiteX300" fmla="*/ 11490650 w 12191999"/>
              <a:gd name="connsiteY300" fmla="*/ 719665 h 6858000"/>
              <a:gd name="connsiteX301" fmla="*/ 11497954 w 12191999"/>
              <a:gd name="connsiteY301" fmla="*/ 713126 h 6858000"/>
              <a:gd name="connsiteX302" fmla="*/ 11473979 w 12191999"/>
              <a:gd name="connsiteY302" fmla="*/ 619309 h 6858000"/>
              <a:gd name="connsiteX303" fmla="*/ 11535276 w 12191999"/>
              <a:gd name="connsiteY303" fmla="*/ 595345 h 6858000"/>
              <a:gd name="connsiteX304" fmla="*/ 11569383 w 12191999"/>
              <a:gd name="connsiteY304" fmla="*/ 622136 h 6858000"/>
              <a:gd name="connsiteX305" fmla="*/ 11512315 w 12191999"/>
              <a:gd name="connsiteY305" fmla="*/ 709932 h 6858000"/>
              <a:gd name="connsiteX306" fmla="*/ 11514624 w 12191999"/>
              <a:gd name="connsiteY306" fmla="*/ 719417 h 6858000"/>
              <a:gd name="connsiteX307" fmla="*/ 11538351 w 12191999"/>
              <a:gd name="connsiteY307" fmla="*/ 719417 h 6858000"/>
              <a:gd name="connsiteX308" fmla="*/ 11547069 w 12191999"/>
              <a:gd name="connsiteY308" fmla="*/ 713903 h 6858000"/>
              <a:gd name="connsiteX309" fmla="*/ 11598623 w 12191999"/>
              <a:gd name="connsiteY309" fmla="*/ 630983 h 6858000"/>
              <a:gd name="connsiteX310" fmla="*/ 11608496 w 12191999"/>
              <a:gd name="connsiteY310" fmla="*/ 600869 h 6858000"/>
              <a:gd name="connsiteX311" fmla="*/ 11599130 w 12191999"/>
              <a:gd name="connsiteY311" fmla="*/ 710062 h 6858000"/>
              <a:gd name="connsiteX312" fmla="*/ 11601439 w 12191999"/>
              <a:gd name="connsiteY312" fmla="*/ 719287 h 6858000"/>
              <a:gd name="connsiteX313" fmla="*/ 11622857 w 12191999"/>
              <a:gd name="connsiteY313" fmla="*/ 719287 h 6858000"/>
              <a:gd name="connsiteX314" fmla="*/ 11629525 w 12191999"/>
              <a:gd name="connsiteY314" fmla="*/ 711087 h 6858000"/>
              <a:gd name="connsiteX315" fmla="*/ 11634650 w 12191999"/>
              <a:gd name="connsiteY315" fmla="*/ 693014 h 6858000"/>
              <a:gd name="connsiteX316" fmla="*/ 11654018 w 12191999"/>
              <a:gd name="connsiteY316" fmla="*/ 688018 h 6858000"/>
              <a:gd name="connsiteX317" fmla="*/ 11659024 w 12191999"/>
              <a:gd name="connsiteY317" fmla="*/ 680584 h 6858000"/>
              <a:gd name="connsiteX318" fmla="*/ 11654654 w 12191999"/>
              <a:gd name="connsiteY318" fmla="*/ 520852 h 6858000"/>
              <a:gd name="connsiteX319" fmla="*/ 11603360 w 12191999"/>
              <a:gd name="connsiteY319" fmla="*/ 487533 h 6858000"/>
              <a:gd name="connsiteX320" fmla="*/ 11526547 w 12191999"/>
              <a:gd name="connsiteY320" fmla="*/ 493424 h 6858000"/>
              <a:gd name="connsiteX321" fmla="*/ 11402033 w 12191999"/>
              <a:gd name="connsiteY321" fmla="*/ 464842 h 6858000"/>
              <a:gd name="connsiteX322" fmla="*/ 11401644 w 12191999"/>
              <a:gd name="connsiteY322" fmla="*/ 459199 h 6858000"/>
              <a:gd name="connsiteX323" fmla="*/ 11433960 w 12191999"/>
              <a:gd name="connsiteY323" fmla="*/ 433314 h 6858000"/>
              <a:gd name="connsiteX324" fmla="*/ 11431392 w 12191999"/>
              <a:gd name="connsiteY324" fmla="*/ 426398 h 6858000"/>
              <a:gd name="connsiteX325" fmla="*/ 11365995 w 12191999"/>
              <a:gd name="connsiteY325" fmla="*/ 438191 h 6858000"/>
              <a:gd name="connsiteX326" fmla="*/ 11327648 w 12191999"/>
              <a:gd name="connsiteY326" fmla="*/ 397567 h 6858000"/>
              <a:gd name="connsiteX327" fmla="*/ 11324025 w 12191999"/>
              <a:gd name="connsiteY327" fmla="*/ 392924 h 6858000"/>
              <a:gd name="connsiteX328" fmla="*/ 11391491 w 12191999"/>
              <a:gd name="connsiteY328" fmla="*/ 334037 h 6858000"/>
              <a:gd name="connsiteX329" fmla="*/ 11426364 w 12191999"/>
              <a:gd name="connsiteY329" fmla="*/ 368996 h 6858000"/>
              <a:gd name="connsiteX330" fmla="*/ 11391491 w 12191999"/>
              <a:gd name="connsiteY330" fmla="*/ 403955 h 6858000"/>
              <a:gd name="connsiteX331" fmla="*/ 11356360 w 12191999"/>
              <a:gd name="connsiteY331" fmla="*/ 368996 h 6858000"/>
              <a:gd name="connsiteX332" fmla="*/ 11391491 w 12191999"/>
              <a:gd name="connsiteY332" fmla="*/ 334037 h 6858000"/>
              <a:gd name="connsiteX333" fmla="*/ 11389959 w 12191999"/>
              <a:gd name="connsiteY333" fmla="*/ 321618 h 6858000"/>
              <a:gd name="connsiteX334" fmla="*/ 11337262 w 12191999"/>
              <a:gd name="connsiteY334" fmla="*/ 374510 h 6858000"/>
              <a:gd name="connsiteX335" fmla="*/ 11389959 w 12191999"/>
              <a:gd name="connsiteY335" fmla="*/ 427401 h 6858000"/>
              <a:gd name="connsiteX336" fmla="*/ 11442656 w 12191999"/>
              <a:gd name="connsiteY336" fmla="*/ 374510 h 6858000"/>
              <a:gd name="connsiteX337" fmla="*/ 11389959 w 12191999"/>
              <a:gd name="connsiteY337" fmla="*/ 321618 h 6858000"/>
              <a:gd name="connsiteX338" fmla="*/ 0 w 12191999"/>
              <a:gd name="connsiteY338" fmla="*/ 0 h 6858000"/>
              <a:gd name="connsiteX339" fmla="*/ 12191999 w 12191999"/>
              <a:gd name="connsiteY339" fmla="*/ 0 h 6858000"/>
              <a:gd name="connsiteX340" fmla="*/ 12191999 w 12191999"/>
              <a:gd name="connsiteY340" fmla="*/ 6858000 h 6858000"/>
              <a:gd name="connsiteX341" fmla="*/ 0 w 12191999"/>
              <a:gd name="connsiteY34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2191999" h="6858000">
                <a:moveTo>
                  <a:pt x="11666200" y="756760"/>
                </a:moveTo>
                <a:cubicBezTo>
                  <a:pt x="11673094" y="756760"/>
                  <a:pt x="11676288" y="758940"/>
                  <a:pt x="11678975" y="761119"/>
                </a:cubicBezTo>
                <a:cubicBezTo>
                  <a:pt x="11678975" y="808195"/>
                  <a:pt x="11678975" y="808195"/>
                  <a:pt x="11678975" y="808195"/>
                </a:cubicBezTo>
                <a:lnTo>
                  <a:pt x="11678845" y="808195"/>
                </a:lnTo>
                <a:cubicBezTo>
                  <a:pt x="11678845" y="811658"/>
                  <a:pt x="11673094" y="813579"/>
                  <a:pt x="11667095" y="813579"/>
                </a:cubicBezTo>
                <a:cubicBezTo>
                  <a:pt x="11654191" y="813579"/>
                  <a:pt x="11644998" y="802671"/>
                  <a:pt x="11644998" y="784080"/>
                </a:cubicBezTo>
                <a:cubicBezTo>
                  <a:pt x="11644998" y="767658"/>
                  <a:pt x="11653942" y="756760"/>
                  <a:pt x="11666200" y="756760"/>
                </a:cubicBezTo>
                <a:close/>
                <a:moveTo>
                  <a:pt x="11553608" y="755951"/>
                </a:moveTo>
                <a:cubicBezTo>
                  <a:pt x="11558334" y="755951"/>
                  <a:pt x="11561787" y="756976"/>
                  <a:pt x="11565369" y="760439"/>
                </a:cubicBezTo>
                <a:cubicBezTo>
                  <a:pt x="11569210" y="764032"/>
                  <a:pt x="11571638" y="771995"/>
                  <a:pt x="11571638" y="784954"/>
                </a:cubicBezTo>
                <a:cubicBezTo>
                  <a:pt x="11571638" y="797535"/>
                  <a:pt x="11569210" y="805746"/>
                  <a:pt x="11565369" y="809339"/>
                </a:cubicBezTo>
                <a:cubicBezTo>
                  <a:pt x="11561787" y="812802"/>
                  <a:pt x="11558334" y="813698"/>
                  <a:pt x="11553608" y="813698"/>
                </a:cubicBezTo>
                <a:cubicBezTo>
                  <a:pt x="11548882" y="813698"/>
                  <a:pt x="11545677" y="812802"/>
                  <a:pt x="11542106" y="809339"/>
                </a:cubicBezTo>
                <a:cubicBezTo>
                  <a:pt x="11538394" y="805746"/>
                  <a:pt x="11535837" y="797783"/>
                  <a:pt x="11535837" y="784954"/>
                </a:cubicBezTo>
                <a:cubicBezTo>
                  <a:pt x="11535837" y="772243"/>
                  <a:pt x="11538394" y="764032"/>
                  <a:pt x="11542106" y="760439"/>
                </a:cubicBezTo>
                <a:cubicBezTo>
                  <a:pt x="11545688" y="756976"/>
                  <a:pt x="11549141" y="755951"/>
                  <a:pt x="11553608" y="755951"/>
                </a:cubicBezTo>
                <a:close/>
                <a:moveTo>
                  <a:pt x="11389948" y="755951"/>
                </a:moveTo>
                <a:cubicBezTo>
                  <a:pt x="11394707" y="755951"/>
                  <a:pt x="11397911" y="756976"/>
                  <a:pt x="11401504" y="760439"/>
                </a:cubicBezTo>
                <a:cubicBezTo>
                  <a:pt x="11405356" y="764032"/>
                  <a:pt x="11407795" y="771995"/>
                  <a:pt x="11407795" y="784954"/>
                </a:cubicBezTo>
                <a:cubicBezTo>
                  <a:pt x="11407795" y="797535"/>
                  <a:pt x="11405356" y="805746"/>
                  <a:pt x="11401504" y="809339"/>
                </a:cubicBezTo>
                <a:cubicBezTo>
                  <a:pt x="11397911" y="812802"/>
                  <a:pt x="11394448" y="813698"/>
                  <a:pt x="11389948" y="813698"/>
                </a:cubicBezTo>
                <a:cubicBezTo>
                  <a:pt x="11385201" y="813698"/>
                  <a:pt x="11381985" y="812802"/>
                  <a:pt x="11378133" y="809339"/>
                </a:cubicBezTo>
                <a:cubicBezTo>
                  <a:pt x="11374411" y="805746"/>
                  <a:pt x="11371843" y="797783"/>
                  <a:pt x="11371843" y="784954"/>
                </a:cubicBezTo>
                <a:cubicBezTo>
                  <a:pt x="11371843" y="772243"/>
                  <a:pt x="11374411" y="764032"/>
                  <a:pt x="11378133" y="760439"/>
                </a:cubicBezTo>
                <a:cubicBezTo>
                  <a:pt x="11381726" y="756976"/>
                  <a:pt x="11385190" y="755951"/>
                  <a:pt x="11389948" y="755951"/>
                </a:cubicBezTo>
                <a:close/>
                <a:moveTo>
                  <a:pt x="11267462" y="755951"/>
                </a:moveTo>
                <a:cubicBezTo>
                  <a:pt x="11272210" y="755951"/>
                  <a:pt x="11275425" y="756976"/>
                  <a:pt x="11279148" y="760439"/>
                </a:cubicBezTo>
                <a:cubicBezTo>
                  <a:pt x="11282881" y="764032"/>
                  <a:pt x="11285438" y="771995"/>
                  <a:pt x="11285438" y="784954"/>
                </a:cubicBezTo>
                <a:cubicBezTo>
                  <a:pt x="11285438" y="797535"/>
                  <a:pt x="11283000" y="805746"/>
                  <a:pt x="11279148" y="809339"/>
                </a:cubicBezTo>
                <a:cubicBezTo>
                  <a:pt x="11275555" y="812802"/>
                  <a:pt x="11272210" y="813698"/>
                  <a:pt x="11267462" y="813698"/>
                </a:cubicBezTo>
                <a:cubicBezTo>
                  <a:pt x="11262715" y="813698"/>
                  <a:pt x="11259499" y="812802"/>
                  <a:pt x="11255907" y="809339"/>
                </a:cubicBezTo>
                <a:cubicBezTo>
                  <a:pt x="11252054" y="805746"/>
                  <a:pt x="11249616" y="797783"/>
                  <a:pt x="11249616" y="784954"/>
                </a:cubicBezTo>
                <a:cubicBezTo>
                  <a:pt x="11249616" y="772243"/>
                  <a:pt x="11252054" y="764032"/>
                  <a:pt x="11255907" y="760439"/>
                </a:cubicBezTo>
                <a:cubicBezTo>
                  <a:pt x="11259499" y="756976"/>
                  <a:pt x="11262844" y="755951"/>
                  <a:pt x="11267462" y="755951"/>
                </a:cubicBezTo>
                <a:close/>
                <a:moveTo>
                  <a:pt x="11708668" y="750005"/>
                </a:moveTo>
                <a:cubicBezTo>
                  <a:pt x="11706381" y="750005"/>
                  <a:pt x="11706381" y="750772"/>
                  <a:pt x="11706381" y="752433"/>
                </a:cubicBezTo>
                <a:cubicBezTo>
                  <a:pt x="11706381" y="817032"/>
                  <a:pt x="11706381" y="817032"/>
                  <a:pt x="11706381" y="817032"/>
                </a:cubicBezTo>
                <a:cubicBezTo>
                  <a:pt x="11706381" y="818952"/>
                  <a:pt x="11706381" y="819459"/>
                  <a:pt x="11708420" y="819459"/>
                </a:cubicBezTo>
                <a:cubicBezTo>
                  <a:pt x="11715671" y="819459"/>
                  <a:pt x="11715671" y="819459"/>
                  <a:pt x="11715671" y="819459"/>
                </a:cubicBezTo>
                <a:cubicBezTo>
                  <a:pt x="11717699" y="819330"/>
                  <a:pt x="11718206" y="819330"/>
                  <a:pt x="11718206" y="817032"/>
                </a:cubicBezTo>
                <a:cubicBezTo>
                  <a:pt x="11718206" y="752433"/>
                  <a:pt x="11718206" y="752433"/>
                  <a:pt x="11718206" y="752433"/>
                </a:cubicBezTo>
                <a:cubicBezTo>
                  <a:pt x="11718206" y="750383"/>
                  <a:pt x="11717699" y="750005"/>
                  <a:pt x="11715660" y="750005"/>
                </a:cubicBezTo>
                <a:cubicBezTo>
                  <a:pt x="11708668" y="750005"/>
                  <a:pt x="11708668" y="750005"/>
                  <a:pt x="11708668" y="750005"/>
                </a:cubicBezTo>
                <a:close/>
                <a:moveTo>
                  <a:pt x="11826514" y="749671"/>
                </a:moveTo>
                <a:cubicBezTo>
                  <a:pt x="11824076" y="749671"/>
                  <a:pt x="11823170" y="749542"/>
                  <a:pt x="11822404" y="751851"/>
                </a:cubicBezTo>
                <a:cubicBezTo>
                  <a:pt x="11818552" y="763374"/>
                  <a:pt x="11808647" y="775804"/>
                  <a:pt x="11798623" y="781695"/>
                </a:cubicBezTo>
                <a:cubicBezTo>
                  <a:pt x="11798234" y="782084"/>
                  <a:pt x="11798105" y="782461"/>
                  <a:pt x="11798105" y="782461"/>
                </a:cubicBezTo>
                <a:cubicBezTo>
                  <a:pt x="11798105" y="782591"/>
                  <a:pt x="11798234" y="782968"/>
                  <a:pt x="11798234" y="783227"/>
                </a:cubicBezTo>
                <a:cubicBezTo>
                  <a:pt x="11822145" y="817420"/>
                  <a:pt x="11822145" y="817420"/>
                  <a:pt x="11822145" y="817420"/>
                </a:cubicBezTo>
                <a:cubicBezTo>
                  <a:pt x="11823558" y="819470"/>
                  <a:pt x="11824076" y="819470"/>
                  <a:pt x="11826126" y="819470"/>
                </a:cubicBezTo>
                <a:cubicBezTo>
                  <a:pt x="11835254" y="819470"/>
                  <a:pt x="11835254" y="819470"/>
                  <a:pt x="11835254" y="819470"/>
                </a:cubicBezTo>
                <a:cubicBezTo>
                  <a:pt x="11835891" y="819330"/>
                  <a:pt x="11837175" y="819330"/>
                  <a:pt x="11837175" y="817798"/>
                </a:cubicBezTo>
                <a:cubicBezTo>
                  <a:pt x="11837175" y="817291"/>
                  <a:pt x="11836786" y="816643"/>
                  <a:pt x="11836279" y="816136"/>
                </a:cubicBezTo>
                <a:cubicBezTo>
                  <a:pt x="11810826" y="782450"/>
                  <a:pt x="11810826" y="782450"/>
                  <a:pt x="11810826" y="782450"/>
                </a:cubicBezTo>
                <a:cubicBezTo>
                  <a:pt x="11810567" y="782192"/>
                  <a:pt x="11810567" y="782192"/>
                  <a:pt x="11810567" y="782192"/>
                </a:cubicBezTo>
                <a:cubicBezTo>
                  <a:pt x="11819566" y="775534"/>
                  <a:pt x="11828824" y="765154"/>
                  <a:pt x="11834607" y="753890"/>
                </a:cubicBezTo>
                <a:cubicBezTo>
                  <a:pt x="11835125" y="752606"/>
                  <a:pt x="11835254" y="751969"/>
                  <a:pt x="11835254" y="751203"/>
                </a:cubicBezTo>
                <a:cubicBezTo>
                  <a:pt x="11835254" y="750049"/>
                  <a:pt x="11834607" y="749671"/>
                  <a:pt x="11832816" y="749671"/>
                </a:cubicBezTo>
                <a:cubicBezTo>
                  <a:pt x="11826514" y="749671"/>
                  <a:pt x="11826514" y="749671"/>
                  <a:pt x="11826514" y="749671"/>
                </a:cubicBezTo>
                <a:close/>
                <a:moveTo>
                  <a:pt x="11301634" y="749671"/>
                </a:moveTo>
                <a:cubicBezTo>
                  <a:pt x="11301116" y="749671"/>
                  <a:pt x="11299832" y="749671"/>
                  <a:pt x="11299832" y="751462"/>
                </a:cubicBezTo>
                <a:cubicBezTo>
                  <a:pt x="11299832" y="751980"/>
                  <a:pt x="11299961" y="752617"/>
                  <a:pt x="11300350" y="753383"/>
                </a:cubicBezTo>
                <a:cubicBezTo>
                  <a:pt x="11324605" y="817399"/>
                  <a:pt x="11324605" y="817399"/>
                  <a:pt x="11324605" y="817399"/>
                </a:cubicBezTo>
                <a:cubicBezTo>
                  <a:pt x="11325371" y="818941"/>
                  <a:pt x="11325630" y="819449"/>
                  <a:pt x="11326785" y="819449"/>
                </a:cubicBezTo>
                <a:cubicBezTo>
                  <a:pt x="11332050" y="819449"/>
                  <a:pt x="11332050" y="819449"/>
                  <a:pt x="11332050" y="819449"/>
                </a:cubicBezTo>
                <a:cubicBezTo>
                  <a:pt x="11333593" y="819449"/>
                  <a:pt x="11333971" y="819190"/>
                  <a:pt x="11334489" y="817399"/>
                </a:cubicBezTo>
                <a:cubicBezTo>
                  <a:pt x="11358108" y="753135"/>
                  <a:pt x="11358108" y="753135"/>
                  <a:pt x="11358108" y="753135"/>
                </a:cubicBezTo>
                <a:cubicBezTo>
                  <a:pt x="11358366" y="751592"/>
                  <a:pt x="11358366" y="751462"/>
                  <a:pt x="11358366" y="751085"/>
                </a:cubicBezTo>
                <a:cubicBezTo>
                  <a:pt x="11358366" y="749671"/>
                  <a:pt x="11357341" y="749671"/>
                  <a:pt x="11356694" y="749671"/>
                </a:cubicBezTo>
                <a:cubicBezTo>
                  <a:pt x="11350015" y="749671"/>
                  <a:pt x="11350015" y="749671"/>
                  <a:pt x="11350015" y="749671"/>
                </a:cubicBezTo>
                <a:cubicBezTo>
                  <a:pt x="11349120" y="749930"/>
                  <a:pt x="11348990" y="750308"/>
                  <a:pt x="11348343" y="751592"/>
                </a:cubicBezTo>
                <a:cubicBezTo>
                  <a:pt x="11330885" y="802908"/>
                  <a:pt x="11330885" y="802908"/>
                  <a:pt x="11330885" y="802908"/>
                </a:cubicBezTo>
                <a:cubicBezTo>
                  <a:pt x="11312920" y="751851"/>
                  <a:pt x="11312920" y="751851"/>
                  <a:pt x="11312920" y="751851"/>
                </a:cubicBezTo>
                <a:cubicBezTo>
                  <a:pt x="11312154" y="749930"/>
                  <a:pt x="11311895" y="749671"/>
                  <a:pt x="11309845" y="749671"/>
                </a:cubicBezTo>
                <a:cubicBezTo>
                  <a:pt x="11301634" y="749671"/>
                  <a:pt x="11301634" y="749671"/>
                  <a:pt x="11301634" y="749671"/>
                </a:cubicBezTo>
                <a:close/>
                <a:moveTo>
                  <a:pt x="11754223" y="748506"/>
                </a:moveTo>
                <a:cubicBezTo>
                  <a:pt x="11742149" y="748506"/>
                  <a:pt x="11731241" y="755185"/>
                  <a:pt x="11731241" y="767625"/>
                </a:cubicBezTo>
                <a:cubicBezTo>
                  <a:pt x="11731241" y="779300"/>
                  <a:pt x="11739462" y="784177"/>
                  <a:pt x="11749346" y="788417"/>
                </a:cubicBezTo>
                <a:cubicBezTo>
                  <a:pt x="11757050" y="791622"/>
                  <a:pt x="11764236" y="794708"/>
                  <a:pt x="11764236" y="801894"/>
                </a:cubicBezTo>
                <a:cubicBezTo>
                  <a:pt x="11764236" y="807407"/>
                  <a:pt x="11759866" y="813698"/>
                  <a:pt x="11750500" y="813698"/>
                </a:cubicBezTo>
                <a:cubicBezTo>
                  <a:pt x="11740995" y="813698"/>
                  <a:pt x="11738308" y="806641"/>
                  <a:pt x="11733679" y="806641"/>
                </a:cubicBezTo>
                <a:cubicBezTo>
                  <a:pt x="11731500" y="806641"/>
                  <a:pt x="11728673" y="807666"/>
                  <a:pt x="11728673" y="811130"/>
                </a:cubicBezTo>
                <a:cubicBezTo>
                  <a:pt x="11728673" y="816643"/>
                  <a:pt x="11739462" y="821402"/>
                  <a:pt x="11750241" y="821402"/>
                </a:cubicBezTo>
                <a:cubicBezTo>
                  <a:pt x="11762434" y="821531"/>
                  <a:pt x="11774896" y="815111"/>
                  <a:pt x="11774896" y="800610"/>
                </a:cubicBezTo>
                <a:cubicBezTo>
                  <a:pt x="11774896" y="777897"/>
                  <a:pt x="11741901" y="781490"/>
                  <a:pt x="11741901" y="766471"/>
                </a:cubicBezTo>
                <a:cubicBezTo>
                  <a:pt x="11741901" y="761335"/>
                  <a:pt x="11745882" y="756199"/>
                  <a:pt x="11753457" y="756199"/>
                </a:cubicBezTo>
                <a:cubicBezTo>
                  <a:pt x="11761290" y="756199"/>
                  <a:pt x="11763340" y="761335"/>
                  <a:pt x="11767322" y="761335"/>
                </a:cubicBezTo>
                <a:cubicBezTo>
                  <a:pt x="11769372" y="761335"/>
                  <a:pt x="11772328" y="760180"/>
                  <a:pt x="11772328" y="756587"/>
                </a:cubicBezTo>
                <a:cubicBezTo>
                  <a:pt x="11772328" y="751452"/>
                  <a:pt x="11763599" y="748506"/>
                  <a:pt x="11754223" y="748506"/>
                </a:cubicBezTo>
                <a:close/>
                <a:moveTo>
                  <a:pt x="11614257" y="748117"/>
                </a:moveTo>
                <a:cubicBezTo>
                  <a:pt x="11607082" y="748117"/>
                  <a:pt x="11602594" y="749272"/>
                  <a:pt x="11599001" y="750167"/>
                </a:cubicBezTo>
                <a:cubicBezTo>
                  <a:pt x="11594383" y="751322"/>
                  <a:pt x="11592721" y="753491"/>
                  <a:pt x="11592721" y="755659"/>
                </a:cubicBezTo>
                <a:cubicBezTo>
                  <a:pt x="11592721" y="816902"/>
                  <a:pt x="11592721" y="816902"/>
                  <a:pt x="11592721" y="816902"/>
                </a:cubicBezTo>
                <a:cubicBezTo>
                  <a:pt x="11592721" y="818952"/>
                  <a:pt x="11593487" y="819071"/>
                  <a:pt x="11595418" y="819071"/>
                </a:cubicBezTo>
                <a:cubicBezTo>
                  <a:pt x="11602216" y="819071"/>
                  <a:pt x="11602216" y="819071"/>
                  <a:pt x="11602216" y="819071"/>
                </a:cubicBezTo>
                <a:cubicBezTo>
                  <a:pt x="11603878" y="819071"/>
                  <a:pt x="11604654" y="818942"/>
                  <a:pt x="11604654" y="816902"/>
                </a:cubicBezTo>
                <a:cubicBezTo>
                  <a:pt x="11604654" y="760774"/>
                  <a:pt x="11604654" y="760774"/>
                  <a:pt x="11604654" y="760774"/>
                </a:cubicBezTo>
                <a:cubicBezTo>
                  <a:pt x="11604654" y="757192"/>
                  <a:pt x="11607471" y="754764"/>
                  <a:pt x="11611452" y="754764"/>
                </a:cubicBezTo>
                <a:cubicBezTo>
                  <a:pt x="11620041" y="754764"/>
                  <a:pt x="11621325" y="761033"/>
                  <a:pt x="11625943" y="761033"/>
                </a:cubicBezTo>
                <a:cubicBezTo>
                  <a:pt x="11629255" y="761162"/>
                  <a:pt x="11631823" y="759112"/>
                  <a:pt x="11631823" y="755152"/>
                </a:cubicBezTo>
                <a:cubicBezTo>
                  <a:pt x="11631823" y="750167"/>
                  <a:pt x="11623623" y="748117"/>
                  <a:pt x="11614257" y="748117"/>
                </a:cubicBezTo>
                <a:close/>
                <a:moveTo>
                  <a:pt x="11553619" y="748117"/>
                </a:moveTo>
                <a:cubicBezTo>
                  <a:pt x="11547609" y="748117"/>
                  <a:pt x="11541221" y="749919"/>
                  <a:pt x="11536236" y="753124"/>
                </a:cubicBezTo>
                <a:cubicBezTo>
                  <a:pt x="11528565" y="758519"/>
                  <a:pt x="11523450" y="768780"/>
                  <a:pt x="11523450" y="784954"/>
                </a:cubicBezTo>
                <a:cubicBezTo>
                  <a:pt x="11523450" y="800998"/>
                  <a:pt x="11528565" y="811270"/>
                  <a:pt x="11536236" y="816654"/>
                </a:cubicBezTo>
                <a:cubicBezTo>
                  <a:pt x="11540962" y="819988"/>
                  <a:pt x="11547490" y="821531"/>
                  <a:pt x="11553619" y="821531"/>
                </a:cubicBezTo>
                <a:cubicBezTo>
                  <a:pt x="11559888" y="821531"/>
                  <a:pt x="11566275" y="819859"/>
                  <a:pt x="11571001" y="816654"/>
                </a:cubicBezTo>
                <a:cubicBezTo>
                  <a:pt x="11578802" y="811259"/>
                  <a:pt x="11583917" y="800998"/>
                  <a:pt x="11583917" y="784954"/>
                </a:cubicBezTo>
                <a:cubicBezTo>
                  <a:pt x="11583917" y="768780"/>
                  <a:pt x="11578802" y="758519"/>
                  <a:pt x="11571001" y="753124"/>
                </a:cubicBezTo>
                <a:cubicBezTo>
                  <a:pt x="11566146" y="749660"/>
                  <a:pt x="11559747" y="748117"/>
                  <a:pt x="11553619" y="748117"/>
                </a:cubicBezTo>
                <a:close/>
                <a:moveTo>
                  <a:pt x="11486031" y="748117"/>
                </a:moveTo>
                <a:cubicBezTo>
                  <a:pt x="11475824" y="748117"/>
                  <a:pt x="11468930" y="750297"/>
                  <a:pt x="11465229" y="751452"/>
                </a:cubicBezTo>
                <a:cubicBezTo>
                  <a:pt x="11460632" y="752994"/>
                  <a:pt x="11459230" y="754656"/>
                  <a:pt x="11459230" y="756965"/>
                </a:cubicBezTo>
                <a:cubicBezTo>
                  <a:pt x="11459230" y="817010"/>
                  <a:pt x="11459230" y="817010"/>
                  <a:pt x="11459230" y="817010"/>
                </a:cubicBezTo>
                <a:cubicBezTo>
                  <a:pt x="11459230" y="819190"/>
                  <a:pt x="11459737" y="819449"/>
                  <a:pt x="11461787" y="819449"/>
                </a:cubicBezTo>
                <a:cubicBezTo>
                  <a:pt x="11468422" y="819449"/>
                  <a:pt x="11468422" y="819449"/>
                  <a:pt x="11468422" y="819449"/>
                </a:cubicBezTo>
                <a:cubicBezTo>
                  <a:pt x="11470332" y="819449"/>
                  <a:pt x="11471228" y="819190"/>
                  <a:pt x="11471228" y="816751"/>
                </a:cubicBezTo>
                <a:cubicBezTo>
                  <a:pt x="11471228" y="761454"/>
                  <a:pt x="11471228" y="761454"/>
                  <a:pt x="11471228" y="761454"/>
                </a:cubicBezTo>
                <a:cubicBezTo>
                  <a:pt x="11471228" y="758497"/>
                  <a:pt x="11476331" y="755422"/>
                  <a:pt x="11485654" y="755422"/>
                </a:cubicBezTo>
                <a:cubicBezTo>
                  <a:pt x="11501223" y="755422"/>
                  <a:pt x="11501223" y="765554"/>
                  <a:pt x="11501223" y="771844"/>
                </a:cubicBezTo>
                <a:cubicBezTo>
                  <a:pt x="11501223" y="816751"/>
                  <a:pt x="11501223" y="816751"/>
                  <a:pt x="11501223" y="816751"/>
                </a:cubicBezTo>
                <a:cubicBezTo>
                  <a:pt x="11501223" y="819190"/>
                  <a:pt x="11501990" y="819449"/>
                  <a:pt x="11504288" y="819449"/>
                </a:cubicBezTo>
                <a:cubicBezTo>
                  <a:pt x="11511690" y="819449"/>
                  <a:pt x="11511690" y="819449"/>
                  <a:pt x="11511690" y="819449"/>
                </a:cubicBezTo>
                <a:cubicBezTo>
                  <a:pt x="11512963" y="819201"/>
                  <a:pt x="11512963" y="817917"/>
                  <a:pt x="11512963" y="816762"/>
                </a:cubicBezTo>
                <a:cubicBezTo>
                  <a:pt x="11512963" y="770312"/>
                  <a:pt x="11512963" y="770312"/>
                  <a:pt x="11512963" y="770312"/>
                </a:cubicBezTo>
                <a:cubicBezTo>
                  <a:pt x="11512963" y="762230"/>
                  <a:pt x="11512704" y="748117"/>
                  <a:pt x="11486031" y="748117"/>
                </a:cubicBezTo>
                <a:close/>
                <a:moveTo>
                  <a:pt x="11389700" y="748117"/>
                </a:moveTo>
                <a:cubicBezTo>
                  <a:pt x="11383539" y="748117"/>
                  <a:pt x="11377249" y="749919"/>
                  <a:pt x="11372242" y="753124"/>
                </a:cubicBezTo>
                <a:cubicBezTo>
                  <a:pt x="11364538" y="758519"/>
                  <a:pt x="11359402" y="768780"/>
                  <a:pt x="11359402" y="784954"/>
                </a:cubicBezTo>
                <a:cubicBezTo>
                  <a:pt x="11359402" y="800998"/>
                  <a:pt x="11364538" y="811270"/>
                  <a:pt x="11372242" y="816654"/>
                </a:cubicBezTo>
                <a:cubicBezTo>
                  <a:pt x="11376990" y="819988"/>
                  <a:pt x="11383539" y="821531"/>
                  <a:pt x="11389700" y="821531"/>
                </a:cubicBezTo>
                <a:cubicBezTo>
                  <a:pt x="11395990" y="821531"/>
                  <a:pt x="11402281" y="819859"/>
                  <a:pt x="11407158" y="816654"/>
                </a:cubicBezTo>
                <a:cubicBezTo>
                  <a:pt x="11414991" y="811259"/>
                  <a:pt x="11420127" y="800998"/>
                  <a:pt x="11420127" y="784954"/>
                </a:cubicBezTo>
                <a:cubicBezTo>
                  <a:pt x="11420127" y="768780"/>
                  <a:pt x="11414991" y="758519"/>
                  <a:pt x="11407158" y="753124"/>
                </a:cubicBezTo>
                <a:cubicBezTo>
                  <a:pt x="11402540" y="749660"/>
                  <a:pt x="11395990" y="748117"/>
                  <a:pt x="11389700" y="748117"/>
                </a:cubicBezTo>
                <a:close/>
                <a:moveTo>
                  <a:pt x="11267473" y="748117"/>
                </a:moveTo>
                <a:cubicBezTo>
                  <a:pt x="11261312" y="748117"/>
                  <a:pt x="11254892" y="749919"/>
                  <a:pt x="11250015" y="753124"/>
                </a:cubicBezTo>
                <a:cubicBezTo>
                  <a:pt x="11242182" y="758519"/>
                  <a:pt x="11237046" y="768780"/>
                  <a:pt x="11237046" y="784954"/>
                </a:cubicBezTo>
                <a:cubicBezTo>
                  <a:pt x="11237046" y="800998"/>
                  <a:pt x="11242182" y="811270"/>
                  <a:pt x="11250015" y="816654"/>
                </a:cubicBezTo>
                <a:cubicBezTo>
                  <a:pt x="11254763" y="819988"/>
                  <a:pt x="11261183" y="821531"/>
                  <a:pt x="11267473" y="821531"/>
                </a:cubicBezTo>
                <a:cubicBezTo>
                  <a:pt x="11273764" y="821531"/>
                  <a:pt x="11279925" y="819859"/>
                  <a:pt x="11284931" y="816654"/>
                </a:cubicBezTo>
                <a:cubicBezTo>
                  <a:pt x="11292635" y="811259"/>
                  <a:pt x="11297771" y="800998"/>
                  <a:pt x="11297771" y="784954"/>
                </a:cubicBezTo>
                <a:cubicBezTo>
                  <a:pt x="11297771" y="768780"/>
                  <a:pt x="11292635" y="758519"/>
                  <a:pt x="11284931" y="753124"/>
                </a:cubicBezTo>
                <a:cubicBezTo>
                  <a:pt x="11279925" y="749660"/>
                  <a:pt x="11273764" y="748117"/>
                  <a:pt x="11267473" y="748117"/>
                </a:cubicBezTo>
                <a:close/>
                <a:moveTo>
                  <a:pt x="11199756" y="748117"/>
                </a:moveTo>
                <a:cubicBezTo>
                  <a:pt x="11189495" y="748117"/>
                  <a:pt x="11182698" y="750297"/>
                  <a:pt x="11178857" y="751452"/>
                </a:cubicBezTo>
                <a:cubicBezTo>
                  <a:pt x="11174368" y="752994"/>
                  <a:pt x="11172825" y="754656"/>
                  <a:pt x="11172825" y="756965"/>
                </a:cubicBezTo>
                <a:cubicBezTo>
                  <a:pt x="11172825" y="817010"/>
                  <a:pt x="11172825" y="817010"/>
                  <a:pt x="11172825" y="817010"/>
                </a:cubicBezTo>
                <a:cubicBezTo>
                  <a:pt x="11172825" y="819190"/>
                  <a:pt x="11173343" y="819449"/>
                  <a:pt x="11175263" y="819449"/>
                </a:cubicBezTo>
                <a:cubicBezTo>
                  <a:pt x="11181932" y="819449"/>
                  <a:pt x="11181932" y="819449"/>
                  <a:pt x="11181932" y="819449"/>
                </a:cubicBezTo>
                <a:cubicBezTo>
                  <a:pt x="11183852" y="819449"/>
                  <a:pt x="11184748" y="819190"/>
                  <a:pt x="11184748" y="816751"/>
                </a:cubicBezTo>
                <a:cubicBezTo>
                  <a:pt x="11184748" y="761454"/>
                  <a:pt x="11184748" y="761454"/>
                  <a:pt x="11184748" y="761454"/>
                </a:cubicBezTo>
                <a:cubicBezTo>
                  <a:pt x="11184748" y="758497"/>
                  <a:pt x="11189873" y="755422"/>
                  <a:pt x="11199238" y="755422"/>
                </a:cubicBezTo>
                <a:cubicBezTo>
                  <a:pt x="11214884" y="755422"/>
                  <a:pt x="11214884" y="765554"/>
                  <a:pt x="11214884" y="771844"/>
                </a:cubicBezTo>
                <a:cubicBezTo>
                  <a:pt x="11214884" y="816751"/>
                  <a:pt x="11214884" y="816751"/>
                  <a:pt x="11214884" y="816751"/>
                </a:cubicBezTo>
                <a:cubicBezTo>
                  <a:pt x="11214884" y="819190"/>
                  <a:pt x="11215650" y="819449"/>
                  <a:pt x="11217959" y="819449"/>
                </a:cubicBezTo>
                <a:cubicBezTo>
                  <a:pt x="11225393" y="819449"/>
                  <a:pt x="11225393" y="819449"/>
                  <a:pt x="11225393" y="819449"/>
                </a:cubicBezTo>
                <a:cubicBezTo>
                  <a:pt x="11226688" y="819201"/>
                  <a:pt x="11226817" y="817917"/>
                  <a:pt x="11226817" y="816762"/>
                </a:cubicBezTo>
                <a:cubicBezTo>
                  <a:pt x="11226817" y="770312"/>
                  <a:pt x="11226817" y="770312"/>
                  <a:pt x="11226817" y="770312"/>
                </a:cubicBezTo>
                <a:cubicBezTo>
                  <a:pt x="11226817" y="762230"/>
                  <a:pt x="11226688" y="748117"/>
                  <a:pt x="11199756" y="748117"/>
                </a:cubicBezTo>
                <a:close/>
                <a:moveTo>
                  <a:pt x="11681273" y="724801"/>
                </a:moveTo>
                <a:cubicBezTo>
                  <a:pt x="11678975" y="724801"/>
                  <a:pt x="11678845" y="725567"/>
                  <a:pt x="11678845" y="727876"/>
                </a:cubicBezTo>
                <a:cubicBezTo>
                  <a:pt x="11678845" y="752250"/>
                  <a:pt x="11678845" y="752250"/>
                  <a:pt x="11678845" y="752250"/>
                </a:cubicBezTo>
                <a:cubicBezTo>
                  <a:pt x="11674626" y="750070"/>
                  <a:pt x="11670537" y="748527"/>
                  <a:pt x="11664279" y="748527"/>
                </a:cubicBezTo>
                <a:cubicBezTo>
                  <a:pt x="11643455" y="748527"/>
                  <a:pt x="11632848" y="768413"/>
                  <a:pt x="11632848" y="784954"/>
                </a:cubicBezTo>
                <a:cubicBezTo>
                  <a:pt x="11632848" y="809587"/>
                  <a:pt x="11646260" y="821510"/>
                  <a:pt x="11666707" y="821510"/>
                </a:cubicBezTo>
                <a:cubicBezTo>
                  <a:pt x="11676547" y="821531"/>
                  <a:pt x="11690477" y="816654"/>
                  <a:pt x="11690477" y="812036"/>
                </a:cubicBezTo>
                <a:cubicBezTo>
                  <a:pt x="11690477" y="727498"/>
                  <a:pt x="11690477" y="727498"/>
                  <a:pt x="11690477" y="727498"/>
                </a:cubicBezTo>
                <a:cubicBezTo>
                  <a:pt x="11690477" y="724930"/>
                  <a:pt x="11689711" y="724801"/>
                  <a:pt x="11687919" y="724801"/>
                </a:cubicBezTo>
                <a:cubicBezTo>
                  <a:pt x="11681273" y="724801"/>
                  <a:pt x="11681273" y="724801"/>
                  <a:pt x="11681273" y="724801"/>
                </a:cubicBezTo>
                <a:close/>
                <a:moveTo>
                  <a:pt x="11786797" y="724552"/>
                </a:moveTo>
                <a:cubicBezTo>
                  <a:pt x="11785384" y="724552"/>
                  <a:pt x="11784607" y="724811"/>
                  <a:pt x="11784607" y="726732"/>
                </a:cubicBezTo>
                <a:cubicBezTo>
                  <a:pt x="11784607" y="817280"/>
                  <a:pt x="11784607" y="817280"/>
                  <a:pt x="11784607" y="817280"/>
                </a:cubicBezTo>
                <a:cubicBezTo>
                  <a:pt x="11784607" y="819071"/>
                  <a:pt x="11784995" y="819330"/>
                  <a:pt x="11786797" y="819330"/>
                </a:cubicBezTo>
                <a:cubicBezTo>
                  <a:pt x="11793864" y="819330"/>
                  <a:pt x="11793864" y="819330"/>
                  <a:pt x="11793864" y="819330"/>
                </a:cubicBezTo>
                <a:cubicBezTo>
                  <a:pt x="11795526" y="819330"/>
                  <a:pt x="11796303" y="819330"/>
                  <a:pt x="11796303" y="817409"/>
                </a:cubicBezTo>
                <a:cubicBezTo>
                  <a:pt x="11796303" y="726473"/>
                  <a:pt x="11796303" y="726473"/>
                  <a:pt x="11796303" y="726473"/>
                </a:cubicBezTo>
                <a:cubicBezTo>
                  <a:pt x="11796303" y="724552"/>
                  <a:pt x="11795407" y="724552"/>
                  <a:pt x="11793864" y="724552"/>
                </a:cubicBezTo>
                <a:cubicBezTo>
                  <a:pt x="11786797" y="724552"/>
                  <a:pt x="11786797" y="724552"/>
                  <a:pt x="11786797" y="724552"/>
                </a:cubicBezTo>
                <a:close/>
                <a:moveTo>
                  <a:pt x="11712617" y="723776"/>
                </a:moveTo>
                <a:cubicBezTo>
                  <a:pt x="11708291" y="723776"/>
                  <a:pt x="11705237" y="726851"/>
                  <a:pt x="11705237" y="730940"/>
                </a:cubicBezTo>
                <a:cubicBezTo>
                  <a:pt x="11705237" y="734781"/>
                  <a:pt x="11707913" y="737975"/>
                  <a:pt x="11712358" y="737975"/>
                </a:cubicBezTo>
                <a:cubicBezTo>
                  <a:pt x="11716933" y="737845"/>
                  <a:pt x="11719739" y="734263"/>
                  <a:pt x="11719609" y="730433"/>
                </a:cubicBezTo>
                <a:cubicBezTo>
                  <a:pt x="11719350" y="726462"/>
                  <a:pt x="11716178" y="723776"/>
                  <a:pt x="11712617" y="723776"/>
                </a:cubicBezTo>
                <a:close/>
                <a:moveTo>
                  <a:pt x="11855021" y="713601"/>
                </a:moveTo>
                <a:lnTo>
                  <a:pt x="11855284" y="713794"/>
                </a:lnTo>
                <a:lnTo>
                  <a:pt x="11855021" y="713860"/>
                </a:lnTo>
                <a:cubicBezTo>
                  <a:pt x="11855021" y="713860"/>
                  <a:pt x="11855021" y="713860"/>
                  <a:pt x="11855021" y="713601"/>
                </a:cubicBezTo>
                <a:close/>
                <a:moveTo>
                  <a:pt x="11847209" y="704235"/>
                </a:moveTo>
                <a:cubicBezTo>
                  <a:pt x="11851428" y="704235"/>
                  <a:pt x="11851428" y="704235"/>
                  <a:pt x="11851428" y="704235"/>
                </a:cubicBezTo>
                <a:cubicBezTo>
                  <a:pt x="11853608" y="704235"/>
                  <a:pt x="11857190" y="704235"/>
                  <a:pt x="11857190" y="707699"/>
                </a:cubicBezTo>
                <a:cubicBezTo>
                  <a:pt x="11857190" y="711162"/>
                  <a:pt x="11853478" y="711162"/>
                  <a:pt x="11851817" y="711162"/>
                </a:cubicBezTo>
                <a:cubicBezTo>
                  <a:pt x="11847209" y="711162"/>
                  <a:pt x="11847209" y="711162"/>
                  <a:pt x="11847209" y="711162"/>
                </a:cubicBezTo>
                <a:close/>
                <a:moveTo>
                  <a:pt x="11843627" y="701020"/>
                </a:moveTo>
                <a:lnTo>
                  <a:pt x="11843627" y="724250"/>
                </a:lnTo>
                <a:cubicBezTo>
                  <a:pt x="11847468" y="724250"/>
                  <a:pt x="11847468" y="724250"/>
                  <a:pt x="11847468" y="724250"/>
                </a:cubicBezTo>
                <a:cubicBezTo>
                  <a:pt x="11847468" y="714367"/>
                  <a:pt x="11847468" y="714367"/>
                  <a:pt x="11847468" y="714367"/>
                </a:cubicBezTo>
                <a:cubicBezTo>
                  <a:pt x="11849648" y="714367"/>
                  <a:pt x="11849648" y="714367"/>
                  <a:pt x="11849648" y="714367"/>
                </a:cubicBezTo>
                <a:cubicBezTo>
                  <a:pt x="11852723" y="714367"/>
                  <a:pt x="11853867" y="715521"/>
                  <a:pt x="11856553" y="720528"/>
                </a:cubicBezTo>
                <a:cubicBezTo>
                  <a:pt x="11858603" y="724121"/>
                  <a:pt x="11858603" y="724121"/>
                  <a:pt x="11858603" y="724121"/>
                </a:cubicBezTo>
                <a:cubicBezTo>
                  <a:pt x="11863081" y="724121"/>
                  <a:pt x="11863081" y="724121"/>
                  <a:pt x="11863081" y="724121"/>
                </a:cubicBezTo>
                <a:cubicBezTo>
                  <a:pt x="11860265" y="719503"/>
                  <a:pt x="11860265" y="719503"/>
                  <a:pt x="11860265" y="719503"/>
                </a:cubicBezTo>
                <a:cubicBezTo>
                  <a:pt x="11858857" y="717258"/>
                  <a:pt x="11857864" y="715942"/>
                  <a:pt x="11857064" y="715107"/>
                </a:cubicBezTo>
                <a:lnTo>
                  <a:pt x="11855284" y="713794"/>
                </a:lnTo>
                <a:lnTo>
                  <a:pt x="11858039" y="713107"/>
                </a:lnTo>
                <a:cubicBezTo>
                  <a:pt x="11860542" y="711860"/>
                  <a:pt x="11861549" y="709333"/>
                  <a:pt x="11861549" y="707310"/>
                </a:cubicBezTo>
                <a:cubicBezTo>
                  <a:pt x="11861549" y="705390"/>
                  <a:pt x="11860653" y="703717"/>
                  <a:pt x="11859370" y="702822"/>
                </a:cubicBezTo>
                <a:cubicBezTo>
                  <a:pt x="11857449" y="701020"/>
                  <a:pt x="11854385" y="701020"/>
                  <a:pt x="11851817" y="701020"/>
                </a:cubicBezTo>
                <a:cubicBezTo>
                  <a:pt x="11843627" y="701020"/>
                  <a:pt x="11843627" y="701020"/>
                  <a:pt x="11843627" y="701020"/>
                </a:cubicBezTo>
                <a:close/>
                <a:moveTo>
                  <a:pt x="11852712" y="694611"/>
                </a:moveTo>
                <a:cubicBezTo>
                  <a:pt x="11862563" y="694611"/>
                  <a:pt x="11870623" y="702563"/>
                  <a:pt x="11870623" y="712446"/>
                </a:cubicBezTo>
                <a:cubicBezTo>
                  <a:pt x="11870623" y="722330"/>
                  <a:pt x="11862693" y="730541"/>
                  <a:pt x="11852712" y="730541"/>
                </a:cubicBezTo>
                <a:cubicBezTo>
                  <a:pt x="11842861" y="730541"/>
                  <a:pt x="11834931" y="722330"/>
                  <a:pt x="11834931" y="712446"/>
                </a:cubicBezTo>
                <a:cubicBezTo>
                  <a:pt x="11834801" y="702563"/>
                  <a:pt x="11842732" y="694611"/>
                  <a:pt x="11852712" y="694611"/>
                </a:cubicBezTo>
                <a:close/>
                <a:moveTo>
                  <a:pt x="11852712" y="690888"/>
                </a:moveTo>
                <a:cubicBezTo>
                  <a:pt x="11840940" y="690888"/>
                  <a:pt x="11831348" y="700513"/>
                  <a:pt x="11831348" y="712446"/>
                </a:cubicBezTo>
                <a:cubicBezTo>
                  <a:pt x="11831348" y="724509"/>
                  <a:pt x="11840940" y="734004"/>
                  <a:pt x="11852712" y="734004"/>
                </a:cubicBezTo>
                <a:cubicBezTo>
                  <a:pt x="11864613" y="734004"/>
                  <a:pt x="11874076" y="724250"/>
                  <a:pt x="11874076" y="712446"/>
                </a:cubicBezTo>
                <a:cubicBezTo>
                  <a:pt x="11874076" y="700642"/>
                  <a:pt x="11864484" y="690888"/>
                  <a:pt x="11852712" y="690888"/>
                </a:cubicBezTo>
                <a:close/>
                <a:moveTo>
                  <a:pt x="11639380" y="551044"/>
                </a:moveTo>
                <a:cubicBezTo>
                  <a:pt x="11639972" y="550996"/>
                  <a:pt x="11640676" y="551285"/>
                  <a:pt x="11641189" y="551862"/>
                </a:cubicBezTo>
                <a:cubicBezTo>
                  <a:pt x="11649011" y="560062"/>
                  <a:pt x="11646325" y="621974"/>
                  <a:pt x="11644652" y="634274"/>
                </a:cubicBezTo>
                <a:cubicBezTo>
                  <a:pt x="11644264" y="637349"/>
                  <a:pt x="11641448" y="639788"/>
                  <a:pt x="11640682" y="633508"/>
                </a:cubicBezTo>
                <a:cubicBezTo>
                  <a:pt x="11639786" y="625567"/>
                  <a:pt x="11635557" y="607235"/>
                  <a:pt x="11634273" y="599671"/>
                </a:cubicBezTo>
                <a:cubicBezTo>
                  <a:pt x="11632859" y="592496"/>
                  <a:pt x="11636841" y="570582"/>
                  <a:pt x="11638243" y="552250"/>
                </a:cubicBezTo>
                <a:cubicBezTo>
                  <a:pt x="11638308" y="551479"/>
                  <a:pt x="11638788" y="551093"/>
                  <a:pt x="11639380" y="551044"/>
                </a:cubicBezTo>
                <a:close/>
                <a:moveTo>
                  <a:pt x="11490639" y="502002"/>
                </a:moveTo>
                <a:cubicBezTo>
                  <a:pt x="11510395" y="504700"/>
                  <a:pt x="11530399" y="505207"/>
                  <a:pt x="11550015" y="504052"/>
                </a:cubicBezTo>
                <a:cubicBezTo>
                  <a:pt x="11553220" y="516223"/>
                  <a:pt x="11552831" y="532116"/>
                  <a:pt x="11548343" y="536605"/>
                </a:cubicBezTo>
                <a:cubicBezTo>
                  <a:pt x="11541157" y="543910"/>
                  <a:pt x="11508722" y="542496"/>
                  <a:pt x="11499486" y="541094"/>
                </a:cubicBezTo>
                <a:cubicBezTo>
                  <a:pt x="11496918" y="540705"/>
                  <a:pt x="11494361" y="540327"/>
                  <a:pt x="11492948" y="533659"/>
                </a:cubicBezTo>
                <a:cubicBezTo>
                  <a:pt x="11491405" y="525837"/>
                  <a:pt x="11491275" y="511486"/>
                  <a:pt x="11490639" y="502002"/>
                </a:cubicBezTo>
                <a:close/>
                <a:moveTo>
                  <a:pt x="11594253" y="498797"/>
                </a:moveTo>
                <a:cubicBezTo>
                  <a:pt x="11599767" y="509048"/>
                  <a:pt x="11600155" y="514950"/>
                  <a:pt x="11598612" y="520075"/>
                </a:cubicBezTo>
                <a:cubicBezTo>
                  <a:pt x="11597069" y="525200"/>
                  <a:pt x="11589894" y="528146"/>
                  <a:pt x="11588351" y="527509"/>
                </a:cubicBezTo>
                <a:cubicBezTo>
                  <a:pt x="11588092" y="516482"/>
                  <a:pt x="11585147" y="508152"/>
                  <a:pt x="11580011" y="500718"/>
                </a:cubicBezTo>
                <a:cubicBezTo>
                  <a:pt x="11584510" y="499952"/>
                  <a:pt x="11589257" y="499315"/>
                  <a:pt x="11594253" y="498797"/>
                </a:cubicBezTo>
                <a:close/>
                <a:moveTo>
                  <a:pt x="11441405" y="491374"/>
                </a:moveTo>
                <a:cubicBezTo>
                  <a:pt x="11447684" y="493295"/>
                  <a:pt x="11454104" y="494967"/>
                  <a:pt x="11460384" y="496499"/>
                </a:cubicBezTo>
                <a:cubicBezTo>
                  <a:pt x="11456025" y="524056"/>
                  <a:pt x="11447436" y="531868"/>
                  <a:pt x="11442948" y="533670"/>
                </a:cubicBezTo>
                <a:cubicBezTo>
                  <a:pt x="11439473" y="535073"/>
                  <a:pt x="11431910" y="535839"/>
                  <a:pt x="11434607" y="527132"/>
                </a:cubicBezTo>
                <a:cubicBezTo>
                  <a:pt x="11437305" y="518413"/>
                  <a:pt x="11439862" y="503545"/>
                  <a:pt x="11441405" y="491374"/>
                </a:cubicBezTo>
                <a:close/>
                <a:moveTo>
                  <a:pt x="11419441" y="484343"/>
                </a:moveTo>
                <a:cubicBezTo>
                  <a:pt x="11421606" y="484488"/>
                  <a:pt x="11425004" y="485801"/>
                  <a:pt x="11431543" y="488299"/>
                </a:cubicBezTo>
                <a:cubicBezTo>
                  <a:pt x="11430647" y="509447"/>
                  <a:pt x="11425263" y="521499"/>
                  <a:pt x="11423202" y="532257"/>
                </a:cubicBezTo>
                <a:cubicBezTo>
                  <a:pt x="11420893" y="543284"/>
                  <a:pt x="11433204" y="545841"/>
                  <a:pt x="11444102" y="543154"/>
                </a:cubicBezTo>
                <a:cubicBezTo>
                  <a:pt x="11454870" y="540468"/>
                  <a:pt x="11465132" y="529182"/>
                  <a:pt x="11469620" y="498549"/>
                </a:cubicBezTo>
                <a:cubicBezTo>
                  <a:pt x="11473850" y="499574"/>
                  <a:pt x="11477313" y="500092"/>
                  <a:pt x="11481672" y="500729"/>
                </a:cubicBezTo>
                <a:cubicBezTo>
                  <a:pt x="11482190" y="532516"/>
                  <a:pt x="11484111" y="539691"/>
                  <a:pt x="11485395" y="542507"/>
                </a:cubicBezTo>
                <a:cubicBezTo>
                  <a:pt x="11487833" y="548398"/>
                  <a:pt x="11493735" y="550329"/>
                  <a:pt x="11498472" y="550707"/>
                </a:cubicBezTo>
                <a:cubicBezTo>
                  <a:pt x="11523353" y="552628"/>
                  <a:pt x="11547458" y="551862"/>
                  <a:pt x="11555917" y="543532"/>
                </a:cubicBezTo>
                <a:cubicBezTo>
                  <a:pt x="11564506" y="535073"/>
                  <a:pt x="11561560" y="514443"/>
                  <a:pt x="11559122" y="503286"/>
                </a:cubicBezTo>
                <a:cubicBezTo>
                  <a:pt x="11563092" y="502898"/>
                  <a:pt x="11566308" y="502520"/>
                  <a:pt x="11570149" y="502002"/>
                </a:cubicBezTo>
                <a:cubicBezTo>
                  <a:pt x="11578360" y="511486"/>
                  <a:pt x="11579385" y="521866"/>
                  <a:pt x="11579385" y="528405"/>
                </a:cubicBezTo>
                <a:cubicBezTo>
                  <a:pt x="11579385" y="535709"/>
                  <a:pt x="11587466" y="539551"/>
                  <a:pt x="11598752" y="531739"/>
                </a:cubicBezTo>
                <a:cubicBezTo>
                  <a:pt x="11609909" y="523916"/>
                  <a:pt x="11608884" y="510202"/>
                  <a:pt x="11602723" y="497773"/>
                </a:cubicBezTo>
                <a:cubicBezTo>
                  <a:pt x="11628371" y="495722"/>
                  <a:pt x="11627086" y="512511"/>
                  <a:pt x="11625673" y="533282"/>
                </a:cubicBezTo>
                <a:cubicBezTo>
                  <a:pt x="11624389" y="553793"/>
                  <a:pt x="11619771" y="582882"/>
                  <a:pt x="11612855" y="586216"/>
                </a:cubicBezTo>
                <a:cubicBezTo>
                  <a:pt x="11605798" y="589162"/>
                  <a:pt x="11594771" y="570323"/>
                  <a:pt x="11537326" y="569428"/>
                </a:cubicBezTo>
                <a:cubicBezTo>
                  <a:pt x="11496551" y="568661"/>
                  <a:pt x="11465261" y="574175"/>
                  <a:pt x="11459488" y="611465"/>
                </a:cubicBezTo>
                <a:cubicBezTo>
                  <a:pt x="11459100" y="614151"/>
                  <a:pt x="11457568" y="613774"/>
                  <a:pt x="11456154" y="612360"/>
                </a:cubicBezTo>
                <a:cubicBezTo>
                  <a:pt x="11444998" y="600189"/>
                  <a:pt x="11434737" y="594676"/>
                  <a:pt x="11418325" y="585191"/>
                </a:cubicBezTo>
                <a:cubicBezTo>
                  <a:pt x="11401785" y="575448"/>
                  <a:pt x="11390757" y="562382"/>
                  <a:pt x="11388707" y="549434"/>
                </a:cubicBezTo>
                <a:cubicBezTo>
                  <a:pt x="11386657" y="536486"/>
                  <a:pt x="11391405" y="519190"/>
                  <a:pt x="11414743" y="487403"/>
                </a:cubicBezTo>
                <a:cubicBezTo>
                  <a:pt x="11416346" y="485224"/>
                  <a:pt x="11417276" y="484199"/>
                  <a:pt x="11419441" y="484343"/>
                </a:cubicBezTo>
                <a:close/>
                <a:moveTo>
                  <a:pt x="11358173" y="469801"/>
                </a:moveTo>
                <a:cubicBezTo>
                  <a:pt x="11352402" y="469752"/>
                  <a:pt x="11342133" y="472433"/>
                  <a:pt x="11346260" y="478275"/>
                </a:cubicBezTo>
                <a:cubicBezTo>
                  <a:pt x="11351763" y="486314"/>
                  <a:pt x="11362639" y="473042"/>
                  <a:pt x="11361744" y="470744"/>
                </a:cubicBezTo>
                <a:cubicBezTo>
                  <a:pt x="11361520" y="470137"/>
                  <a:pt x="11360096" y="469817"/>
                  <a:pt x="11358173" y="469801"/>
                </a:cubicBezTo>
                <a:close/>
                <a:moveTo>
                  <a:pt x="11354455" y="453696"/>
                </a:moveTo>
                <a:cubicBezTo>
                  <a:pt x="11359222" y="452705"/>
                  <a:pt x="11365520" y="456094"/>
                  <a:pt x="11379471" y="464453"/>
                </a:cubicBezTo>
                <a:cubicBezTo>
                  <a:pt x="11402044" y="478167"/>
                  <a:pt x="11408971" y="475351"/>
                  <a:pt x="11401267" y="487522"/>
                </a:cubicBezTo>
                <a:cubicBezTo>
                  <a:pt x="11396519" y="495345"/>
                  <a:pt x="11380486" y="516104"/>
                  <a:pt x="11376515" y="541611"/>
                </a:cubicBezTo>
                <a:cubicBezTo>
                  <a:pt x="11371131" y="534436"/>
                  <a:pt x="11363815" y="516622"/>
                  <a:pt x="11357665" y="511745"/>
                </a:cubicBezTo>
                <a:cubicBezTo>
                  <a:pt x="11345613" y="502261"/>
                  <a:pt x="11335222" y="509566"/>
                  <a:pt x="11330734" y="504052"/>
                </a:cubicBezTo>
                <a:cubicBezTo>
                  <a:pt x="11325727" y="498031"/>
                  <a:pt x="11323677" y="497643"/>
                  <a:pt x="11328166" y="491881"/>
                </a:cubicBezTo>
                <a:cubicBezTo>
                  <a:pt x="11328166" y="491881"/>
                  <a:pt x="11333550" y="484835"/>
                  <a:pt x="11335600" y="481879"/>
                </a:cubicBezTo>
                <a:cubicBezTo>
                  <a:pt x="11337909" y="478804"/>
                  <a:pt x="11337272" y="473031"/>
                  <a:pt x="11338297" y="470604"/>
                </a:cubicBezTo>
                <a:cubicBezTo>
                  <a:pt x="11339193" y="468165"/>
                  <a:pt x="11344707" y="460861"/>
                  <a:pt x="11349972" y="456124"/>
                </a:cubicBezTo>
                <a:cubicBezTo>
                  <a:pt x="11351448" y="454843"/>
                  <a:pt x="11352866" y="454026"/>
                  <a:pt x="11354455" y="453696"/>
                </a:cubicBezTo>
                <a:close/>
                <a:moveTo>
                  <a:pt x="11324025" y="392924"/>
                </a:moveTo>
                <a:cubicBezTo>
                  <a:pt x="11322935" y="393149"/>
                  <a:pt x="11322134" y="395329"/>
                  <a:pt x="11322134" y="400006"/>
                </a:cubicBezTo>
                <a:cubicBezTo>
                  <a:pt x="11322134" y="423463"/>
                  <a:pt x="11332395" y="437555"/>
                  <a:pt x="11335988" y="441536"/>
                </a:cubicBezTo>
                <a:cubicBezTo>
                  <a:pt x="11339452" y="445507"/>
                  <a:pt x="11341114" y="449477"/>
                  <a:pt x="11339193" y="451786"/>
                </a:cubicBezTo>
                <a:cubicBezTo>
                  <a:pt x="11334068" y="457807"/>
                  <a:pt x="11328554" y="464475"/>
                  <a:pt x="11328425" y="467162"/>
                </a:cubicBezTo>
                <a:cubicBezTo>
                  <a:pt x="11328166" y="470107"/>
                  <a:pt x="11328425" y="471521"/>
                  <a:pt x="11327270" y="474855"/>
                </a:cubicBezTo>
                <a:cubicBezTo>
                  <a:pt x="11326116" y="478059"/>
                  <a:pt x="11322016" y="482796"/>
                  <a:pt x="11315477" y="490748"/>
                </a:cubicBezTo>
                <a:cubicBezTo>
                  <a:pt x="11311884" y="495366"/>
                  <a:pt x="11314193" y="500362"/>
                  <a:pt x="11317268" y="503696"/>
                </a:cubicBezTo>
                <a:cubicBezTo>
                  <a:pt x="11320861" y="507796"/>
                  <a:pt x="11323300" y="512544"/>
                  <a:pt x="11327788" y="514594"/>
                </a:cubicBezTo>
                <a:cubicBezTo>
                  <a:pt x="11332406" y="516644"/>
                  <a:pt x="11336506" y="515230"/>
                  <a:pt x="11341890" y="516137"/>
                </a:cubicBezTo>
                <a:cubicBezTo>
                  <a:pt x="11347016" y="517032"/>
                  <a:pt x="11353436" y="520107"/>
                  <a:pt x="11358561" y="529214"/>
                </a:cubicBezTo>
                <a:cubicBezTo>
                  <a:pt x="11365995" y="542539"/>
                  <a:pt x="11373947" y="563310"/>
                  <a:pt x="11388308" y="580476"/>
                </a:cubicBezTo>
                <a:cubicBezTo>
                  <a:pt x="11394717" y="588040"/>
                  <a:pt x="11394717" y="602013"/>
                  <a:pt x="11394717" y="606490"/>
                </a:cubicBezTo>
                <a:cubicBezTo>
                  <a:pt x="11395106" y="646736"/>
                  <a:pt x="11374076" y="684803"/>
                  <a:pt x="11360611" y="709026"/>
                </a:cubicBezTo>
                <a:cubicBezTo>
                  <a:pt x="11357406" y="714669"/>
                  <a:pt x="11358172" y="719406"/>
                  <a:pt x="11362402" y="719406"/>
                </a:cubicBezTo>
                <a:cubicBezTo>
                  <a:pt x="11367279" y="719406"/>
                  <a:pt x="11385481" y="719406"/>
                  <a:pt x="11388567" y="719406"/>
                </a:cubicBezTo>
                <a:cubicBezTo>
                  <a:pt x="11391901" y="719406"/>
                  <a:pt x="11393951" y="715813"/>
                  <a:pt x="11394210" y="711972"/>
                </a:cubicBezTo>
                <a:cubicBezTo>
                  <a:pt x="11396519" y="679030"/>
                  <a:pt x="11415110" y="618661"/>
                  <a:pt x="11429094" y="608411"/>
                </a:cubicBezTo>
                <a:cubicBezTo>
                  <a:pt x="11452561" y="623150"/>
                  <a:pt x="11475900" y="654678"/>
                  <a:pt x="11464484" y="709921"/>
                </a:cubicBezTo>
                <a:cubicBezTo>
                  <a:pt x="11463966" y="712996"/>
                  <a:pt x="11461150" y="719665"/>
                  <a:pt x="11468207" y="719665"/>
                </a:cubicBezTo>
                <a:cubicBezTo>
                  <a:pt x="11468207" y="719665"/>
                  <a:pt x="11488082" y="719665"/>
                  <a:pt x="11490650" y="719665"/>
                </a:cubicBezTo>
                <a:cubicBezTo>
                  <a:pt x="11493595" y="719665"/>
                  <a:pt x="11498343" y="718510"/>
                  <a:pt x="11497954" y="713126"/>
                </a:cubicBezTo>
                <a:cubicBezTo>
                  <a:pt x="11496800" y="691590"/>
                  <a:pt x="11478716" y="646100"/>
                  <a:pt x="11473979" y="619309"/>
                </a:cubicBezTo>
                <a:cubicBezTo>
                  <a:pt x="11471034" y="602390"/>
                  <a:pt x="11484499" y="572146"/>
                  <a:pt x="11535276" y="595345"/>
                </a:cubicBezTo>
                <a:cubicBezTo>
                  <a:pt x="11554773" y="577790"/>
                  <a:pt x="11580421" y="588428"/>
                  <a:pt x="11569383" y="622136"/>
                </a:cubicBezTo>
                <a:cubicBezTo>
                  <a:pt x="11558614" y="655713"/>
                  <a:pt x="11549249" y="670452"/>
                  <a:pt x="11512315" y="709932"/>
                </a:cubicBezTo>
                <a:cubicBezTo>
                  <a:pt x="11508215" y="714550"/>
                  <a:pt x="11507827" y="719417"/>
                  <a:pt x="11514624" y="719417"/>
                </a:cubicBezTo>
                <a:cubicBezTo>
                  <a:pt x="11517958" y="719417"/>
                  <a:pt x="11534888" y="719417"/>
                  <a:pt x="11538351" y="719417"/>
                </a:cubicBezTo>
                <a:cubicBezTo>
                  <a:pt x="11543476" y="719417"/>
                  <a:pt x="11545537" y="717874"/>
                  <a:pt x="11547069" y="713903"/>
                </a:cubicBezTo>
                <a:cubicBezTo>
                  <a:pt x="11548483" y="709673"/>
                  <a:pt x="11565412" y="656102"/>
                  <a:pt x="11598623" y="630983"/>
                </a:cubicBezTo>
                <a:cubicBezTo>
                  <a:pt x="11601191" y="629063"/>
                  <a:pt x="11603371" y="620474"/>
                  <a:pt x="11608496" y="600869"/>
                </a:cubicBezTo>
                <a:cubicBezTo>
                  <a:pt x="11624529" y="622017"/>
                  <a:pt x="11626709" y="660461"/>
                  <a:pt x="11599130" y="710062"/>
                </a:cubicBezTo>
                <a:cubicBezTo>
                  <a:pt x="11596314" y="715316"/>
                  <a:pt x="11597976" y="719287"/>
                  <a:pt x="11601439" y="719287"/>
                </a:cubicBezTo>
                <a:cubicBezTo>
                  <a:pt x="11603360" y="719287"/>
                  <a:pt x="11618368" y="719287"/>
                  <a:pt x="11622857" y="719287"/>
                </a:cubicBezTo>
                <a:cubicBezTo>
                  <a:pt x="11626828" y="719287"/>
                  <a:pt x="11627982" y="717107"/>
                  <a:pt x="11629525" y="711087"/>
                </a:cubicBezTo>
                <a:cubicBezTo>
                  <a:pt x="11631446" y="703653"/>
                  <a:pt x="11632093" y="700060"/>
                  <a:pt x="11634650" y="693014"/>
                </a:cubicBezTo>
                <a:cubicBezTo>
                  <a:pt x="11636193" y="688655"/>
                  <a:pt x="11636830" y="687889"/>
                  <a:pt x="11654018" y="688018"/>
                </a:cubicBezTo>
                <a:cubicBezTo>
                  <a:pt x="11659402" y="688018"/>
                  <a:pt x="11659024" y="685202"/>
                  <a:pt x="11659024" y="680584"/>
                </a:cubicBezTo>
                <a:cubicBezTo>
                  <a:pt x="11659272" y="614151"/>
                  <a:pt x="11659661" y="544687"/>
                  <a:pt x="11654654" y="520852"/>
                </a:cubicBezTo>
                <a:cubicBezTo>
                  <a:pt x="11647727" y="487403"/>
                  <a:pt x="11618617" y="486378"/>
                  <a:pt x="11603360" y="487533"/>
                </a:cubicBezTo>
                <a:cubicBezTo>
                  <a:pt x="11587456" y="488688"/>
                  <a:pt x="11557449" y="493424"/>
                  <a:pt x="11526547" y="493424"/>
                </a:cubicBezTo>
                <a:cubicBezTo>
                  <a:pt x="11484866" y="493424"/>
                  <a:pt x="11437930" y="481631"/>
                  <a:pt x="11402033" y="464842"/>
                </a:cubicBezTo>
                <a:cubicBezTo>
                  <a:pt x="11395753" y="462026"/>
                  <a:pt x="11398958" y="460742"/>
                  <a:pt x="11401644" y="459199"/>
                </a:cubicBezTo>
                <a:cubicBezTo>
                  <a:pt x="11415110" y="451765"/>
                  <a:pt x="11426774" y="445097"/>
                  <a:pt x="11433960" y="433314"/>
                </a:cubicBezTo>
                <a:cubicBezTo>
                  <a:pt x="11439473" y="424348"/>
                  <a:pt x="11437423" y="421521"/>
                  <a:pt x="11431392" y="426398"/>
                </a:cubicBezTo>
                <a:cubicBezTo>
                  <a:pt x="11415110" y="439982"/>
                  <a:pt x="11391890" y="447546"/>
                  <a:pt x="11365995" y="438191"/>
                </a:cubicBezTo>
                <a:cubicBezTo>
                  <a:pt x="11339959" y="428966"/>
                  <a:pt x="11329957" y="403847"/>
                  <a:pt x="11327648" y="397567"/>
                </a:cubicBezTo>
                <a:cubicBezTo>
                  <a:pt x="11326493" y="394428"/>
                  <a:pt x="11325115" y="392699"/>
                  <a:pt x="11324025" y="392924"/>
                </a:cubicBezTo>
                <a:close/>
                <a:moveTo>
                  <a:pt x="11391491" y="334037"/>
                </a:moveTo>
                <a:cubicBezTo>
                  <a:pt x="11410848" y="334037"/>
                  <a:pt x="11426364" y="349790"/>
                  <a:pt x="11426364" y="368996"/>
                </a:cubicBezTo>
                <a:cubicBezTo>
                  <a:pt x="11426364" y="388331"/>
                  <a:pt x="11410848" y="403955"/>
                  <a:pt x="11391491" y="403955"/>
                </a:cubicBezTo>
                <a:cubicBezTo>
                  <a:pt x="11372134" y="403955"/>
                  <a:pt x="11356360" y="388331"/>
                  <a:pt x="11356360" y="368996"/>
                </a:cubicBezTo>
                <a:cubicBezTo>
                  <a:pt x="11356360" y="349542"/>
                  <a:pt x="11372134" y="334037"/>
                  <a:pt x="11391491" y="334037"/>
                </a:cubicBezTo>
                <a:close/>
                <a:moveTo>
                  <a:pt x="11389959" y="321618"/>
                </a:moveTo>
                <a:cubicBezTo>
                  <a:pt x="11360729" y="321618"/>
                  <a:pt x="11337262" y="345442"/>
                  <a:pt x="11337262" y="374510"/>
                </a:cubicBezTo>
                <a:cubicBezTo>
                  <a:pt x="11337262" y="403836"/>
                  <a:pt x="11360978" y="427401"/>
                  <a:pt x="11389959" y="427401"/>
                </a:cubicBezTo>
                <a:cubicBezTo>
                  <a:pt x="11419189" y="427401"/>
                  <a:pt x="11442656" y="403577"/>
                  <a:pt x="11442656" y="374510"/>
                </a:cubicBezTo>
                <a:cubicBezTo>
                  <a:pt x="11442656" y="345183"/>
                  <a:pt x="11419189" y="321618"/>
                  <a:pt x="11389959" y="321618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4D7DC"/>
          </a:solidFill>
        </p:spPr>
        <p:txBody>
          <a:bodyPr wrap="square" tIns="7200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48000" y="648000"/>
            <a:ext cx="8652000" cy="5562000"/>
          </a:xfrm>
        </p:spPr>
        <p:txBody>
          <a:bodyPr bIns="144000" anchor="ctr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644800"/>
            <a:ext cx="1920000" cy="15480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DBC0D27-79CE-4CB8-9819-041246B921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F363458-92CB-4BC5-8F81-D4DBE70473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1999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plac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2000" y="56520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90BD2A53-E0E8-4741-9570-27A6978F3B78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4000" y="324000"/>
            <a:ext cx="4488000" cy="324000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4189875-0661-4E2F-8DC6-9F8850F63BE8}"/>
              </a:ext>
            </a:extLst>
          </p:cNvPr>
          <p:cNvSpPr txBox="1"/>
          <p:nvPr userDrawn="1"/>
        </p:nvSpPr>
        <p:spPr>
          <a:xfrm>
            <a:off x="23812" y="-33911"/>
            <a:ext cx="36000" cy="474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lang="da-DK" sz="133" dirty="0">
                <a:solidFill>
                  <a:srgbClr val="666666"/>
                </a:solidFill>
                <a:latin typeface="Apis For Office Light" panose="020B0404010101010104" pitchFamily="34" charset="0"/>
                <a:ea typeface="Apis For Office Light" panose="020B0404010101010104" pitchFamily="34" charset="0"/>
                <a:cs typeface="Apis For Office Light" panose="020B0404010101010104" pitchFamily="34" charset="0"/>
              </a:rPr>
              <a:t>Light</a:t>
            </a:r>
          </a:p>
        </p:txBody>
      </p:sp>
      <p:sp>
        <p:nvSpPr>
          <p:cNvPr id="16" name="Slide Number Placeholder 8">
            <a:extLst>
              <a:ext uri="{FF2B5EF4-FFF2-40B4-BE49-F238E27FC236}">
                <a16:creationId xmlns:a16="http://schemas.microsoft.com/office/drawing/2014/main" id="{A65E5DCA-65B0-489C-8954-F5C4AA22AC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3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CC218D6D-FEFB-46D0-8813-C99976F4CA16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7777719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10895014" cy="129286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45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6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36D757B-F40B-4569-BAF1-AA3404B9E9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14153613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laceholders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1296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48000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7914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EC381D6-39E2-4766-8084-72599657FA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12979717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9" y="647700"/>
            <a:ext cx="4162425" cy="1292866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135999" y="3429000"/>
            <a:ext cx="4164001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5999" y="648000"/>
            <a:ext cx="4164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52F6B10-75DE-4EAB-81DC-766BA163DBE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623999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F5229E68-3EC6-4831-B439-8804F87FEA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15344103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B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9" y="647700"/>
            <a:ext cx="4162425" cy="1292866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380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380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52F6B10-75DE-4EAB-81DC-766BA163DBE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624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79187130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C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9" y="647700"/>
            <a:ext cx="4162425" cy="1292866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380000" y="648000"/>
            <a:ext cx="1920000" cy="55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F1618E7-6259-402C-A006-7EB43B92C8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68901124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8000"/>
            <a:ext cx="10896000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7999" y="1548000"/>
            <a:ext cx="10896001" cy="46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0D294CC-24C2-47E3-B826-6C4083885A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80283767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ing 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699" y="647700"/>
            <a:ext cx="10896601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547700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9200" y="1547700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AF405E3-B39D-45EE-8E47-4F2225BD2A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88390199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83BF171-11B0-4BBC-A5E0-54E06540B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D4BEBA1-3B3D-4B4B-9C17-2B3431510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A63ACE-2F21-4C6E-8E2B-F2CF7446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135AE9C-0192-4702-9483-2D7F666258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98424354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18F144-C552-47DE-B37E-F764CB8D0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59BE18-6820-417E-88D1-C143F8462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EC8840-13BA-406D-AE15-E96701F6D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059968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183CE00-85A1-4798-8BED-5088889827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AE8B13B9-500C-41BD-AE32-64AABDD45343}"/>
              </a:ext>
            </a:extLst>
          </p:cNvPr>
          <p:cNvSpPr/>
          <p:nvPr userDrawn="1"/>
        </p:nvSpPr>
        <p:spPr>
          <a:xfrm>
            <a:off x="4818274" y="2518125"/>
            <a:ext cx="2555453" cy="1821750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95E57C6-792B-4176-9081-325BCB6A73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sz="10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11BEDE0-B328-47ED-BFE3-B922ED50E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sz="10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5EE4FB-E10C-46B3-A75F-639829594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sz="100" dirty="0"/>
          </a:p>
        </p:txBody>
      </p:sp>
    </p:spTree>
    <p:extLst>
      <p:ext uri="{BB962C8B-B14F-4D97-AF65-F5344CB8AC3E}">
        <p14:creationId xmlns:p14="http://schemas.microsoft.com/office/powerpoint/2010/main" val="5785986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980C894-9D8D-4E84-92B9-6EA4ECCC00D1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648000"/>
            <a:ext cx="8652001" cy="5562000"/>
          </a:xfrm>
        </p:spPr>
        <p:txBody>
          <a:bodyPr bIns="144000" anchor="ctr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644800"/>
            <a:ext cx="1920000" cy="15480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DBC0D27-79CE-4CB8-9819-041246B921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F363458-92CB-4BC5-8F81-D4DBE70473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1999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plac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2000" y="56520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bg1"/>
                </a:solidFill>
              </a:defRPr>
            </a:lvl1pPr>
          </a:lstStyle>
          <a:p>
            <a:fld id="{44FC0115-4875-40D6-A8D9-5C4D9A459273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4000" y="324000"/>
            <a:ext cx="4488000" cy="324000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FDF5EDE-8F7F-4DF3-B844-7C0C4E6AC641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sp>
        <p:nvSpPr>
          <p:cNvPr id="14" name="Slide Number Placeholder 8">
            <a:extLst>
              <a:ext uri="{FF2B5EF4-FFF2-40B4-BE49-F238E27FC236}">
                <a16:creationId xmlns:a16="http://schemas.microsoft.com/office/drawing/2014/main" id="{4589B76A-6F33-43A1-BEAC-5DD74727BC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5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9CE848CF-6894-4564-ABE3-C9ED24818DCD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68346341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183CE00-85A1-4798-8BED-5088889827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AE8B13B9-500C-41BD-AE32-64AABDD45343}"/>
              </a:ext>
            </a:extLst>
          </p:cNvPr>
          <p:cNvSpPr/>
          <p:nvPr userDrawn="1"/>
        </p:nvSpPr>
        <p:spPr>
          <a:xfrm>
            <a:off x="4818274" y="2518125"/>
            <a:ext cx="2555453" cy="1821750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3" name="Date Placeholder 6">
            <a:extLst>
              <a:ext uri="{FF2B5EF4-FFF2-40B4-BE49-F238E27FC236}">
                <a16:creationId xmlns:a16="http://schemas.microsoft.com/office/drawing/2014/main" id="{5E2CB17F-7F37-4D9E-B75C-9007C8729C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sz="100" dirty="0"/>
          </a:p>
        </p:txBody>
      </p:sp>
      <p:sp>
        <p:nvSpPr>
          <p:cNvPr id="14" name="Footer Placeholder 7">
            <a:extLst>
              <a:ext uri="{FF2B5EF4-FFF2-40B4-BE49-F238E27FC236}">
                <a16:creationId xmlns:a16="http://schemas.microsoft.com/office/drawing/2014/main" id="{74FE5657-0D9D-4DB3-826E-FF66EEDC5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sz="100" dirty="0"/>
          </a:p>
        </p:txBody>
      </p:sp>
      <p:sp>
        <p:nvSpPr>
          <p:cNvPr id="15" name="Slide Number Placeholder 8">
            <a:extLst>
              <a:ext uri="{FF2B5EF4-FFF2-40B4-BE49-F238E27FC236}">
                <a16:creationId xmlns:a16="http://schemas.microsoft.com/office/drawing/2014/main" id="{0B3E7C79-1410-4D8B-926D-CF3179FE0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sz="100" dirty="0"/>
          </a:p>
        </p:txBody>
      </p:sp>
    </p:spTree>
    <p:extLst>
      <p:ext uri="{BB962C8B-B14F-4D97-AF65-F5344CB8AC3E}">
        <p14:creationId xmlns:p14="http://schemas.microsoft.com/office/powerpoint/2010/main" val="44268476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7579" y="1608016"/>
            <a:ext cx="2786833" cy="4001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PICTURES</a:t>
            </a:r>
            <a:br>
              <a:rPr lang="en-GB" sz="900" dirty="0"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GB" altLang="da-DK" sz="900" b="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254412" y="187609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7700" y="1613646"/>
            <a:ext cx="2280360" cy="5001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TEXT STYLES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</a:t>
            </a:r>
            <a:b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sz="90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600" dirty="0"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7579" y="3322850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8120" y="2599667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54412" y="3118826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4001" y="4313402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4001" y="5641555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0433" y="3928566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729773" y="1608016"/>
            <a:ext cx="2358243" cy="4047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GRIDLINES</a:t>
            </a:r>
            <a:endParaRPr lang="en-GB" sz="16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647700" y="448713"/>
            <a:ext cx="11001373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6198" y="4635849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4000" y="5077014"/>
            <a:ext cx="475428" cy="176762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B97ADE-DB50-43D7-B6D7-6AA6A44173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62254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13A6A0-AAC5-4762-99A3-8E67DE5BC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6A718C-8117-4521-935E-A616BB58A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246016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 dirty="0">
                <a:solidFill>
                  <a:schemeClr val="bg1"/>
                </a:solidFill>
              </a:rPr>
            </a:b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 dirty="0">
                <a:solidFill>
                  <a:schemeClr val="bg1"/>
                </a:solidFill>
              </a:rPr>
              <a:t>Do not use </a:t>
            </a:r>
            <a:endParaRPr lang="en-GB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175431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83BF171-11B0-4BBC-A5E0-54E06540B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FBA9E-C030-444A-9468-E2FEE5B115AE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D4BEBA1-3B3D-4B4B-9C17-2B3431510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A63ACE-2F21-4C6E-8E2B-F2CF7446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135AE9C-0192-4702-9483-2D7F666258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vert="horz" lIns="0" tIns="0" rIns="0" bIns="0" rtlCol="0" anchor="b">
            <a:noAutofit/>
          </a:bodyPr>
          <a:lstStyle>
            <a:lvl1pPr marL="0" indent="0">
              <a:buNone/>
              <a:defRPr lang="en-GB" sz="1067" i="1" dirty="0"/>
            </a:lvl1pPr>
          </a:lstStyle>
          <a:p>
            <a:pPr marL="269993" lvl="0" indent="-269993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05667769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5" name="Subtitle 7"/>
          <p:cNvSpPr>
            <a:spLocks noGrp="1"/>
          </p:cNvSpPr>
          <p:nvPr>
            <p:ph type="subTitle" idx="14"/>
          </p:nvPr>
        </p:nvSpPr>
        <p:spPr>
          <a:xfrm>
            <a:off x="422400" y="1209112"/>
            <a:ext cx="11347200" cy="266301"/>
          </a:xfrm>
        </p:spPr>
        <p:txBody>
          <a:bodyPr/>
          <a:lstStyle>
            <a:lvl1pPr marL="0" indent="0">
              <a:buNone/>
              <a:defRPr sz="1600">
                <a:solidFill>
                  <a:srgbClr val="00B0F0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2400" y="6362700"/>
            <a:ext cx="11347200" cy="228600"/>
          </a:xfrm>
        </p:spPr>
        <p:txBody>
          <a:bodyPr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67">
                <a:solidFill>
                  <a:schemeClr val="accent3"/>
                </a:solidFill>
              </a:defRPr>
            </a:lvl1pPr>
            <a:lvl2pPr marL="353474" indent="0">
              <a:buFontTx/>
              <a:buNone/>
              <a:defRPr/>
            </a:lvl2pPr>
            <a:lvl3pPr marL="715415" indent="0">
              <a:buFontTx/>
              <a:buNone/>
              <a:defRPr/>
            </a:lvl3pPr>
            <a:lvl4pPr marL="1077357" indent="0">
              <a:buFontTx/>
              <a:buNone/>
              <a:defRPr/>
            </a:lvl4pPr>
            <a:lvl5pPr marL="1430831" indent="0">
              <a:buFontTx/>
              <a:buNone/>
              <a:defRPr/>
            </a:lvl5pPr>
          </a:lstStyle>
          <a:p>
            <a:pPr lvl="0"/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5630933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3105">
          <p15:clr>
            <a:srgbClr val="FBAE40"/>
          </p15:clr>
        </p15:guide>
        <p15:guide id="2" pos="192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ormal - fixe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E51383A-8FBD-409E-9F26-8A65D1A6FA8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8912" y="6107514"/>
            <a:ext cx="11314176" cy="256545"/>
          </a:xfrm>
        </p:spPr>
        <p:txBody>
          <a:bodyPr wrap="square" lIns="91440" tIns="45720" rIns="91440" bIns="45720" anchor="b">
            <a:spAutoFit/>
          </a:bodyPr>
          <a:lstStyle>
            <a:lvl1pPr marL="0" indent="0">
              <a:buClr>
                <a:srgbClr val="82786F"/>
              </a:buClr>
              <a:buNone/>
              <a:defRPr sz="1067">
                <a:solidFill>
                  <a:srgbClr val="82786F"/>
                </a:solidFill>
              </a:defRPr>
            </a:lvl1pPr>
            <a:lvl2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2pPr>
            <a:lvl3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3pPr>
            <a:lvl4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4pPr>
            <a:lvl5pPr>
              <a:buClr>
                <a:srgbClr val="82786F"/>
              </a:buCl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4A2C8DE-BB30-4383-9379-38EC9DEBEF2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0" y="6596572"/>
            <a:ext cx="11753088" cy="257636"/>
          </a:xfrm>
        </p:spPr>
        <p:txBody>
          <a:bodyPr wrap="square" lIns="90000" tIns="46800" rIns="90000" bIns="45720" anchor="b" anchorCtr="0">
            <a:spAutoFit/>
          </a:bodyPr>
          <a:lstStyle>
            <a:lvl1pPr marL="0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1pPr>
            <a:lvl2pPr marL="353474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2pPr>
            <a:lvl3pPr marL="715415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3pPr>
            <a:lvl4pPr marL="1077357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4pPr>
            <a:lvl5pPr marL="1430831" indent="0">
              <a:buNone/>
              <a:defRPr sz="106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4646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648000"/>
            <a:ext cx="8652001" cy="5562000"/>
          </a:xfrm>
        </p:spPr>
        <p:txBody>
          <a:bodyPr bIns="144000" anchor="ctr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644800"/>
            <a:ext cx="1920000" cy="15480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DBC0D27-79CE-4CB8-9819-041246B921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F363458-92CB-4BC5-8F81-D4DBE70473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1999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lac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2000" y="56520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fld id="{8699034A-DB2F-4958-9806-AEFE466D7AB3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4000" y="324000"/>
            <a:ext cx="4488000" cy="324000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71420AF-1268-4AE1-84DA-164DB71C2C14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7CC7667B-71FE-473D-AE19-E08F2682BD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3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AE78219-5CBB-4760-B800-636AFE0A99A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6242280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36357" y="2163600"/>
            <a:ext cx="6408844" cy="2379600"/>
          </a:xfrm>
        </p:spPr>
        <p:txBody>
          <a:bodyPr anchor="ctr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3DB85B7-7760-4094-B5B7-6A45B6116B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36000" y="5644800"/>
            <a:ext cx="1920000" cy="15480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am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2BFF97BE-94AD-42AA-A3DB-5B131AB35A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36000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1A1E9AD3-ADA1-4763-9893-4057C2CF9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80355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lace</a:t>
            </a:r>
          </a:p>
        </p:txBody>
      </p:sp>
      <p:sp>
        <p:nvSpPr>
          <p:cNvPr id="31" name="Date Placeholder 6">
            <a:extLst>
              <a:ext uri="{FF2B5EF4-FFF2-40B4-BE49-F238E27FC236}">
                <a16:creationId xmlns:a16="http://schemas.microsoft.com/office/drawing/2014/main" id="{353E10AF-D600-4770-A150-4A8ED3F945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380356" y="56448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fld id="{DB8D4610-676C-4EF4-B1F4-CB964C8F8150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7ACB837-D775-4027-8A9A-8A934ABD2C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4000" y="324000"/>
            <a:ext cx="4488000" cy="62100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2DB09BC2-598E-40D3-B291-F2AE97681E15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sp>
        <p:nvSpPr>
          <p:cNvPr id="11" name="Footer Placeholder 7">
            <a:extLst>
              <a:ext uri="{FF2B5EF4-FFF2-40B4-BE49-F238E27FC236}">
                <a16:creationId xmlns:a16="http://schemas.microsoft.com/office/drawing/2014/main" id="{3619EDAC-4320-41F5-B9CB-6CF8C3F2CC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625912" y="5900401"/>
            <a:ext cx="1919288" cy="308313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6EC1ABD1-7336-4768-9B10-EE224AA916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3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CFCDB02C-C393-45D0-9339-45B1931BD426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6394964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F3B750-FD0B-4117-8CF8-02751916C1F8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01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8D676A-6B3E-4600-AEA0-531C2DAF5E48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5A42DB6-37C7-4655-8383-4D4C615303B7}"/>
              </a:ext>
            </a:extLst>
          </p:cNvPr>
          <p:cNvSpPr txBox="1"/>
          <p:nvPr userDrawn="1"/>
        </p:nvSpPr>
        <p:spPr>
          <a:xfrm>
            <a:off x="7381875" y="2819982"/>
            <a:ext cx="4162127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720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4BBEEFE-FD1C-41BE-8701-C445D2EB12C0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sp>
        <p:nvSpPr>
          <p:cNvPr id="5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3EF1636C-932C-4747-B37D-D0B1E2D9AB1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6874710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Agenda">
    <p:bg bwMode="grayWhite">
      <p:bgPr>
        <a:solidFill>
          <a:srgbClr val="F7F6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94AFEEA-94E5-4AC9-A1E0-1C0A39ED59B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04617A3-773E-4D38-A193-F8C5B6A520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82" t="20310" r="8216" b="23549"/>
          <a:stretch/>
        </p:blipFill>
        <p:spPr>
          <a:xfrm>
            <a:off x="190501" y="2105535"/>
            <a:ext cx="10292105" cy="2989020"/>
          </a:xfrm>
          <a:prstGeom prst="rect">
            <a:avLst/>
          </a:prstGeom>
        </p:spPr>
      </p:pic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A2A3BC1C-0A3F-4D46-8A19-9812D28C2B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92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tx2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 noProof="0" dirty="0"/>
              <a:t>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E35705F-E398-47AC-9EC0-7584A114B9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8001" y="648000"/>
            <a:ext cx="1920001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tx2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09.00-09.30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  <a:endParaRPr lang="nb-NO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154932B-CAF4-4887-967A-7DBC49158EB4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058A511-E7D3-48F5-9E56-C90D4AEF4335}"/>
              </a:ext>
            </a:extLst>
          </p:cNvPr>
          <p:cNvSpPr/>
          <p:nvPr userDrawn="1"/>
        </p:nvSpPr>
        <p:spPr bwMode="gray"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sp>
        <p:nvSpPr>
          <p:cNvPr id="2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B3C1CADE-9463-4A8D-B4E6-273C0EC9AFF5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6997357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C377899-65C3-0819-43A6-49944D58D2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13B2A6FF-1EAD-FEC8-122C-B61B959385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906D1ADA-BC53-F51E-01C4-538EB2281E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0148E-80EA-4707-BC54-0BF4CCE74621}" type="datetimeFigureOut">
              <a:rPr lang="it-IT" smtClean="0"/>
              <a:t>29/01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EEB578A-8520-6010-E545-5EC4751F96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9443AEA-44C7-35BF-39F7-AD36E5D690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61824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Layout">
    <p:bg>
      <p:bgPr>
        <a:solidFill>
          <a:srgbClr val="F7F6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AA02891-9B5C-45AF-8221-7F98276EA46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154932B-CAF4-4887-967A-7DBC49158EB4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5058A511-E7D3-48F5-9E56-C90D4AEF4335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0884CB1-C89E-483F-AD92-A451F60F1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82" t="20310" r="8216" b="23549"/>
          <a:stretch/>
        </p:blipFill>
        <p:spPr>
          <a:xfrm>
            <a:off x="190501" y="2105535"/>
            <a:ext cx="10292105" cy="2989020"/>
          </a:xfrm>
          <a:prstGeom prst="rect">
            <a:avLst/>
          </a:prstGeom>
        </p:spPr>
      </p:pic>
      <p:sp>
        <p:nvSpPr>
          <p:cNvPr id="3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2AD425B-83E9-4675-A5F8-3B70DC855783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6851693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7E7C513-B1CD-4706-976C-28D5F1922773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648000"/>
            <a:ext cx="8652001" cy="5562000"/>
          </a:xfrm>
        </p:spPr>
        <p:txBody>
          <a:bodyPr anchor="ctr"/>
          <a:lstStyle>
            <a:lvl1pPr algn="l"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240FBF-8305-4F82-AD7B-5098CE85A03E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3602F927-C35A-415E-909F-7517AD1B0FFA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sp>
        <p:nvSpPr>
          <p:cNvPr id="6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D9E9F619-DDA7-4396-BEF5-E42E21A0A600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7726725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Divider">
    <p:bg bwMode="ltGray">
      <p:bgPr>
        <a:solidFill>
          <a:srgbClr val="F7F6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E495F4B-43C9-4BD0-8BB8-4942406D920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5F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8766DD-9A06-4EF8-BC56-88FAB73040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97165" y="647701"/>
            <a:ext cx="8902835" cy="5562300"/>
          </a:xfrm>
        </p:spPr>
        <p:txBody>
          <a:bodyPr anchor="ctr">
            <a:noAutofit/>
          </a:bodyPr>
          <a:lstStyle>
            <a:lvl1pPr marL="0" indent="0">
              <a:buNone/>
              <a:defRPr sz="41299">
                <a:solidFill>
                  <a:srgbClr val="EBE8E5"/>
                </a:solidFill>
              </a:defRPr>
            </a:lvl1pPr>
          </a:lstStyle>
          <a:p>
            <a:pPr lvl="0"/>
            <a:r>
              <a:rPr lang="en-GB" dirty="0"/>
              <a:t>01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23602" y="648000"/>
            <a:ext cx="7675975" cy="5562000"/>
          </a:xfrm>
        </p:spPr>
        <p:txBody>
          <a:bodyPr anchor="ctr"/>
          <a:lstStyle>
            <a:lvl1pPr algn="l">
              <a:defRPr sz="4400" b="1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0BF77BC-E865-4CCD-8D69-156999EAF8CB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CFC03F98-43D5-4866-9EED-B1724A421DE5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accent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sp>
        <p:nvSpPr>
          <p:cNvPr id="6" name="imag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8C259898-72ED-48AD-B8DB-354C87B7C69D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8334254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Content Tru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2000"/>
            <a:ext cx="10896000" cy="972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CE953C-AC85-4E49-A6E2-3902AA1608BD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A7DD42-50DC-4727-B3D6-62052EA9E5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648000"/>
            <a:ext cx="10896001" cy="324000"/>
          </a:xfrm>
        </p:spPr>
        <p:txBody>
          <a:bodyPr/>
          <a:lstStyle>
            <a:lvl1pPr marL="0" indent="0">
              <a:buNone/>
              <a:defRPr sz="1400" b="1" cap="all" baseline="0"/>
            </a:lvl1pPr>
          </a:lstStyle>
          <a:p>
            <a:pPr lvl="0"/>
            <a:r>
              <a:rPr lang="en-GB" dirty="0"/>
              <a:t>Click to add trumpet</a:t>
            </a:r>
          </a:p>
        </p:txBody>
      </p:sp>
    </p:spTree>
    <p:extLst>
      <p:ext uri="{BB962C8B-B14F-4D97-AF65-F5344CB8AC3E}">
        <p14:creationId xmlns:p14="http://schemas.microsoft.com/office/powerpoint/2010/main" val="6956524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263F9-D018-4DE9-AE2C-811FAB15C56E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9191223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6408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380000" y="1940565"/>
            <a:ext cx="4164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5339FD-E012-4776-AAAF-DD2028955D79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6BE7D1E-8977-4FBA-BE12-1091DAF34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0609480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1" y="1940565"/>
            <a:ext cx="4163713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6000" y="1940565"/>
            <a:ext cx="1920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380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EB8507-1BCC-4494-B067-6125449ACD98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D24B339-4BEF-40F4-99BA-001E3E2611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8093409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5999" y="1940565"/>
            <a:ext cx="4164001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1940565"/>
            <a:ext cx="1920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AC6640-0A4F-400C-8D9F-D372C0DBC601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50C9B3A-1DC8-4D31-931B-2B9DFA8D2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42057048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6408300" cy="1292867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1920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92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0C906-7995-4285-B51F-8B8CFA816F0F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380000" y="324000"/>
            <a:ext cx="4488000" cy="62100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6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  <p:sp>
        <p:nvSpPr>
          <p:cNvPr id="4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4E040E5F-17E7-4BD9-A89F-45152FDBA834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666058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7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19F20-AE07-4AEB-AF8E-164A46937005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6001" y="324000"/>
            <a:ext cx="6732001" cy="62100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  <p:sp>
        <p:nvSpPr>
          <p:cNvPr id="4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AD76CD6D-257F-451B-A84B-5F86799B060C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943843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0DD4B4D-D27C-4487-6922-C678DD6CE3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1344B712-EDC0-8017-B637-C696760BD6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DEED012-D643-91DF-799F-26CAB49B25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0148E-80EA-4707-BC54-0BF4CCE74621}" type="datetimeFigureOut">
              <a:rPr lang="it-IT" smtClean="0"/>
              <a:t>29/01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4AA0A3A-5E32-4D24-6156-EA7AF6C99C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B2C6A53-0C3B-0AE4-0FEC-2D90778217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690461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7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4A3B86-2E99-4D5A-9666-4AE3B57769E0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5999" y="324000"/>
            <a:ext cx="4164001" cy="62100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</p:spTree>
    <p:extLst>
      <p:ext uri="{BB962C8B-B14F-4D97-AF65-F5344CB8AC3E}">
        <p14:creationId xmlns:p14="http://schemas.microsoft.com/office/powerpoint/2010/main" val="36624111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6408300" cy="1292867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1920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892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8E8AC4-8EBE-4619-B4B8-8A20AA68B5A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E7DBB5-D404-4034-A0B3-D7F31143893B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04CBD4A-182F-487E-B21D-5F418CE42D1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380000" y="324000"/>
            <a:ext cx="1920000" cy="62100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92D14D3-8709-434C-A54B-15ADD1D8757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36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picture text</a:t>
            </a:r>
          </a:p>
        </p:txBody>
      </p:sp>
    </p:spTree>
    <p:extLst>
      <p:ext uri="{BB962C8B-B14F-4D97-AF65-F5344CB8AC3E}">
        <p14:creationId xmlns:p14="http://schemas.microsoft.com/office/powerpoint/2010/main" val="36419805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A41594FF-878C-4539-A3DF-E2C07894A9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5015" cy="129286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57915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5150ED-B90C-4AB1-BCB0-E73E86A8D87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AD95102-81B6-4A58-9978-8E5FE0CF4EDA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6E0E6C7-4501-41F5-82DA-93E27DDCEB4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834695D-31D7-40E5-BF1E-A049DDB0738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C244FE-0B79-4E3B-B276-2F6B1D5612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2152333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5015" cy="129286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896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1315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467532-26CE-464F-8AF2-4CA009A8544A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F91D68D-2FA9-4CAD-8EF0-C0BF3460A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0243606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5015" cy="129286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45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63000" y="1944000"/>
            <a:ext cx="24810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E22FA3-5D2D-49F9-BF94-E4C3D3B871DE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36D757B-F40B-4569-BAF1-AA3404B9E9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3740694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1296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48000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7915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36503-28B5-4831-A3C7-E7B009BE19D2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EC381D6-39E2-4766-8084-72599657FA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0116792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Editor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13CFCCD3-0AE2-4C38-9A7F-E484B1E8CF9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custGeom>
            <a:avLst/>
            <a:gdLst>
              <a:gd name="connsiteX0" fmla="*/ 11666200 w 12193200"/>
              <a:gd name="connsiteY0" fmla="*/ 756760 h 6861600"/>
              <a:gd name="connsiteX1" fmla="*/ 11678975 w 12193200"/>
              <a:gd name="connsiteY1" fmla="*/ 761119 h 6861600"/>
              <a:gd name="connsiteX2" fmla="*/ 11678975 w 12193200"/>
              <a:gd name="connsiteY2" fmla="*/ 808195 h 6861600"/>
              <a:gd name="connsiteX3" fmla="*/ 11678845 w 12193200"/>
              <a:gd name="connsiteY3" fmla="*/ 808195 h 6861600"/>
              <a:gd name="connsiteX4" fmla="*/ 11667095 w 12193200"/>
              <a:gd name="connsiteY4" fmla="*/ 813579 h 6861600"/>
              <a:gd name="connsiteX5" fmla="*/ 11644998 w 12193200"/>
              <a:gd name="connsiteY5" fmla="*/ 784080 h 6861600"/>
              <a:gd name="connsiteX6" fmla="*/ 11666200 w 12193200"/>
              <a:gd name="connsiteY6" fmla="*/ 756760 h 6861600"/>
              <a:gd name="connsiteX7" fmla="*/ 11553608 w 12193200"/>
              <a:gd name="connsiteY7" fmla="*/ 755951 h 6861600"/>
              <a:gd name="connsiteX8" fmla="*/ 11565369 w 12193200"/>
              <a:gd name="connsiteY8" fmla="*/ 760439 h 6861600"/>
              <a:gd name="connsiteX9" fmla="*/ 11571638 w 12193200"/>
              <a:gd name="connsiteY9" fmla="*/ 784954 h 6861600"/>
              <a:gd name="connsiteX10" fmla="*/ 11565369 w 12193200"/>
              <a:gd name="connsiteY10" fmla="*/ 809339 h 6861600"/>
              <a:gd name="connsiteX11" fmla="*/ 11553608 w 12193200"/>
              <a:gd name="connsiteY11" fmla="*/ 813698 h 6861600"/>
              <a:gd name="connsiteX12" fmla="*/ 11542106 w 12193200"/>
              <a:gd name="connsiteY12" fmla="*/ 809339 h 6861600"/>
              <a:gd name="connsiteX13" fmla="*/ 11535837 w 12193200"/>
              <a:gd name="connsiteY13" fmla="*/ 784954 h 6861600"/>
              <a:gd name="connsiteX14" fmla="*/ 11542106 w 12193200"/>
              <a:gd name="connsiteY14" fmla="*/ 760439 h 6861600"/>
              <a:gd name="connsiteX15" fmla="*/ 11553608 w 12193200"/>
              <a:gd name="connsiteY15" fmla="*/ 755951 h 6861600"/>
              <a:gd name="connsiteX16" fmla="*/ 11389948 w 12193200"/>
              <a:gd name="connsiteY16" fmla="*/ 755951 h 6861600"/>
              <a:gd name="connsiteX17" fmla="*/ 11401504 w 12193200"/>
              <a:gd name="connsiteY17" fmla="*/ 760439 h 6861600"/>
              <a:gd name="connsiteX18" fmla="*/ 11407795 w 12193200"/>
              <a:gd name="connsiteY18" fmla="*/ 784954 h 6861600"/>
              <a:gd name="connsiteX19" fmla="*/ 11401504 w 12193200"/>
              <a:gd name="connsiteY19" fmla="*/ 809339 h 6861600"/>
              <a:gd name="connsiteX20" fmla="*/ 11389948 w 12193200"/>
              <a:gd name="connsiteY20" fmla="*/ 813698 h 6861600"/>
              <a:gd name="connsiteX21" fmla="*/ 11378133 w 12193200"/>
              <a:gd name="connsiteY21" fmla="*/ 809339 h 6861600"/>
              <a:gd name="connsiteX22" fmla="*/ 11371843 w 12193200"/>
              <a:gd name="connsiteY22" fmla="*/ 784954 h 6861600"/>
              <a:gd name="connsiteX23" fmla="*/ 11378133 w 12193200"/>
              <a:gd name="connsiteY23" fmla="*/ 760439 h 6861600"/>
              <a:gd name="connsiteX24" fmla="*/ 11389948 w 12193200"/>
              <a:gd name="connsiteY24" fmla="*/ 755951 h 6861600"/>
              <a:gd name="connsiteX25" fmla="*/ 11267462 w 12193200"/>
              <a:gd name="connsiteY25" fmla="*/ 755951 h 6861600"/>
              <a:gd name="connsiteX26" fmla="*/ 11279148 w 12193200"/>
              <a:gd name="connsiteY26" fmla="*/ 760439 h 6861600"/>
              <a:gd name="connsiteX27" fmla="*/ 11285438 w 12193200"/>
              <a:gd name="connsiteY27" fmla="*/ 784954 h 6861600"/>
              <a:gd name="connsiteX28" fmla="*/ 11279148 w 12193200"/>
              <a:gd name="connsiteY28" fmla="*/ 809339 h 6861600"/>
              <a:gd name="connsiteX29" fmla="*/ 11267462 w 12193200"/>
              <a:gd name="connsiteY29" fmla="*/ 813698 h 6861600"/>
              <a:gd name="connsiteX30" fmla="*/ 11255907 w 12193200"/>
              <a:gd name="connsiteY30" fmla="*/ 809339 h 6861600"/>
              <a:gd name="connsiteX31" fmla="*/ 11249616 w 12193200"/>
              <a:gd name="connsiteY31" fmla="*/ 784954 h 6861600"/>
              <a:gd name="connsiteX32" fmla="*/ 11255907 w 12193200"/>
              <a:gd name="connsiteY32" fmla="*/ 760439 h 6861600"/>
              <a:gd name="connsiteX33" fmla="*/ 11267462 w 12193200"/>
              <a:gd name="connsiteY33" fmla="*/ 755951 h 6861600"/>
              <a:gd name="connsiteX34" fmla="*/ 11708668 w 12193200"/>
              <a:gd name="connsiteY34" fmla="*/ 750006 h 6861600"/>
              <a:gd name="connsiteX35" fmla="*/ 11706381 w 12193200"/>
              <a:gd name="connsiteY35" fmla="*/ 752433 h 6861600"/>
              <a:gd name="connsiteX36" fmla="*/ 11706381 w 12193200"/>
              <a:gd name="connsiteY36" fmla="*/ 817032 h 6861600"/>
              <a:gd name="connsiteX37" fmla="*/ 11708420 w 12193200"/>
              <a:gd name="connsiteY37" fmla="*/ 819459 h 6861600"/>
              <a:gd name="connsiteX38" fmla="*/ 11715671 w 12193200"/>
              <a:gd name="connsiteY38" fmla="*/ 819459 h 6861600"/>
              <a:gd name="connsiteX39" fmla="*/ 11718206 w 12193200"/>
              <a:gd name="connsiteY39" fmla="*/ 817032 h 6861600"/>
              <a:gd name="connsiteX40" fmla="*/ 11718206 w 12193200"/>
              <a:gd name="connsiteY40" fmla="*/ 752433 h 6861600"/>
              <a:gd name="connsiteX41" fmla="*/ 11715660 w 12193200"/>
              <a:gd name="connsiteY41" fmla="*/ 750006 h 6861600"/>
              <a:gd name="connsiteX42" fmla="*/ 11708668 w 12193200"/>
              <a:gd name="connsiteY42" fmla="*/ 750006 h 6861600"/>
              <a:gd name="connsiteX43" fmla="*/ 11826514 w 12193200"/>
              <a:gd name="connsiteY43" fmla="*/ 749671 h 6861600"/>
              <a:gd name="connsiteX44" fmla="*/ 11822404 w 12193200"/>
              <a:gd name="connsiteY44" fmla="*/ 751851 h 6861600"/>
              <a:gd name="connsiteX45" fmla="*/ 11798623 w 12193200"/>
              <a:gd name="connsiteY45" fmla="*/ 781695 h 6861600"/>
              <a:gd name="connsiteX46" fmla="*/ 11798105 w 12193200"/>
              <a:gd name="connsiteY46" fmla="*/ 782461 h 6861600"/>
              <a:gd name="connsiteX47" fmla="*/ 11798234 w 12193200"/>
              <a:gd name="connsiteY47" fmla="*/ 783227 h 6861600"/>
              <a:gd name="connsiteX48" fmla="*/ 11822145 w 12193200"/>
              <a:gd name="connsiteY48" fmla="*/ 817420 h 6861600"/>
              <a:gd name="connsiteX49" fmla="*/ 11826126 w 12193200"/>
              <a:gd name="connsiteY49" fmla="*/ 819470 h 6861600"/>
              <a:gd name="connsiteX50" fmla="*/ 11835254 w 12193200"/>
              <a:gd name="connsiteY50" fmla="*/ 819470 h 6861600"/>
              <a:gd name="connsiteX51" fmla="*/ 11837175 w 12193200"/>
              <a:gd name="connsiteY51" fmla="*/ 817798 h 6861600"/>
              <a:gd name="connsiteX52" fmla="*/ 11836279 w 12193200"/>
              <a:gd name="connsiteY52" fmla="*/ 816136 h 6861600"/>
              <a:gd name="connsiteX53" fmla="*/ 11810826 w 12193200"/>
              <a:gd name="connsiteY53" fmla="*/ 782450 h 6861600"/>
              <a:gd name="connsiteX54" fmla="*/ 11810567 w 12193200"/>
              <a:gd name="connsiteY54" fmla="*/ 782192 h 6861600"/>
              <a:gd name="connsiteX55" fmla="*/ 11834607 w 12193200"/>
              <a:gd name="connsiteY55" fmla="*/ 753890 h 6861600"/>
              <a:gd name="connsiteX56" fmla="*/ 11835254 w 12193200"/>
              <a:gd name="connsiteY56" fmla="*/ 751203 h 6861600"/>
              <a:gd name="connsiteX57" fmla="*/ 11832816 w 12193200"/>
              <a:gd name="connsiteY57" fmla="*/ 749671 h 6861600"/>
              <a:gd name="connsiteX58" fmla="*/ 11826514 w 12193200"/>
              <a:gd name="connsiteY58" fmla="*/ 749671 h 6861600"/>
              <a:gd name="connsiteX59" fmla="*/ 11301634 w 12193200"/>
              <a:gd name="connsiteY59" fmla="*/ 749671 h 6861600"/>
              <a:gd name="connsiteX60" fmla="*/ 11299832 w 12193200"/>
              <a:gd name="connsiteY60" fmla="*/ 751462 h 6861600"/>
              <a:gd name="connsiteX61" fmla="*/ 11300350 w 12193200"/>
              <a:gd name="connsiteY61" fmla="*/ 753383 h 6861600"/>
              <a:gd name="connsiteX62" fmla="*/ 11324605 w 12193200"/>
              <a:gd name="connsiteY62" fmla="*/ 817399 h 6861600"/>
              <a:gd name="connsiteX63" fmla="*/ 11326785 w 12193200"/>
              <a:gd name="connsiteY63" fmla="*/ 819449 h 6861600"/>
              <a:gd name="connsiteX64" fmla="*/ 11332050 w 12193200"/>
              <a:gd name="connsiteY64" fmla="*/ 819449 h 6861600"/>
              <a:gd name="connsiteX65" fmla="*/ 11334489 w 12193200"/>
              <a:gd name="connsiteY65" fmla="*/ 817399 h 6861600"/>
              <a:gd name="connsiteX66" fmla="*/ 11358108 w 12193200"/>
              <a:gd name="connsiteY66" fmla="*/ 753135 h 6861600"/>
              <a:gd name="connsiteX67" fmla="*/ 11358366 w 12193200"/>
              <a:gd name="connsiteY67" fmla="*/ 751085 h 6861600"/>
              <a:gd name="connsiteX68" fmla="*/ 11356694 w 12193200"/>
              <a:gd name="connsiteY68" fmla="*/ 749671 h 6861600"/>
              <a:gd name="connsiteX69" fmla="*/ 11350015 w 12193200"/>
              <a:gd name="connsiteY69" fmla="*/ 749671 h 6861600"/>
              <a:gd name="connsiteX70" fmla="*/ 11348343 w 12193200"/>
              <a:gd name="connsiteY70" fmla="*/ 751592 h 6861600"/>
              <a:gd name="connsiteX71" fmla="*/ 11330885 w 12193200"/>
              <a:gd name="connsiteY71" fmla="*/ 802908 h 6861600"/>
              <a:gd name="connsiteX72" fmla="*/ 11312920 w 12193200"/>
              <a:gd name="connsiteY72" fmla="*/ 751851 h 6861600"/>
              <a:gd name="connsiteX73" fmla="*/ 11309845 w 12193200"/>
              <a:gd name="connsiteY73" fmla="*/ 749671 h 6861600"/>
              <a:gd name="connsiteX74" fmla="*/ 11301634 w 12193200"/>
              <a:gd name="connsiteY74" fmla="*/ 749671 h 6861600"/>
              <a:gd name="connsiteX75" fmla="*/ 11754223 w 12193200"/>
              <a:gd name="connsiteY75" fmla="*/ 748506 h 6861600"/>
              <a:gd name="connsiteX76" fmla="*/ 11731241 w 12193200"/>
              <a:gd name="connsiteY76" fmla="*/ 767625 h 6861600"/>
              <a:gd name="connsiteX77" fmla="*/ 11749346 w 12193200"/>
              <a:gd name="connsiteY77" fmla="*/ 788417 h 6861600"/>
              <a:gd name="connsiteX78" fmla="*/ 11764236 w 12193200"/>
              <a:gd name="connsiteY78" fmla="*/ 801894 h 6861600"/>
              <a:gd name="connsiteX79" fmla="*/ 11750500 w 12193200"/>
              <a:gd name="connsiteY79" fmla="*/ 813698 h 6861600"/>
              <a:gd name="connsiteX80" fmla="*/ 11733679 w 12193200"/>
              <a:gd name="connsiteY80" fmla="*/ 806641 h 6861600"/>
              <a:gd name="connsiteX81" fmla="*/ 11728673 w 12193200"/>
              <a:gd name="connsiteY81" fmla="*/ 811130 h 6861600"/>
              <a:gd name="connsiteX82" fmla="*/ 11750241 w 12193200"/>
              <a:gd name="connsiteY82" fmla="*/ 821402 h 6861600"/>
              <a:gd name="connsiteX83" fmla="*/ 11774896 w 12193200"/>
              <a:gd name="connsiteY83" fmla="*/ 800610 h 6861600"/>
              <a:gd name="connsiteX84" fmla="*/ 11741901 w 12193200"/>
              <a:gd name="connsiteY84" fmla="*/ 766471 h 6861600"/>
              <a:gd name="connsiteX85" fmla="*/ 11753457 w 12193200"/>
              <a:gd name="connsiteY85" fmla="*/ 756199 h 6861600"/>
              <a:gd name="connsiteX86" fmla="*/ 11767322 w 12193200"/>
              <a:gd name="connsiteY86" fmla="*/ 761335 h 6861600"/>
              <a:gd name="connsiteX87" fmla="*/ 11772328 w 12193200"/>
              <a:gd name="connsiteY87" fmla="*/ 756587 h 6861600"/>
              <a:gd name="connsiteX88" fmla="*/ 11754223 w 12193200"/>
              <a:gd name="connsiteY88" fmla="*/ 748506 h 6861600"/>
              <a:gd name="connsiteX89" fmla="*/ 11614257 w 12193200"/>
              <a:gd name="connsiteY89" fmla="*/ 748117 h 6861600"/>
              <a:gd name="connsiteX90" fmla="*/ 11599001 w 12193200"/>
              <a:gd name="connsiteY90" fmla="*/ 750167 h 6861600"/>
              <a:gd name="connsiteX91" fmla="*/ 11592721 w 12193200"/>
              <a:gd name="connsiteY91" fmla="*/ 755660 h 6861600"/>
              <a:gd name="connsiteX92" fmla="*/ 11592721 w 12193200"/>
              <a:gd name="connsiteY92" fmla="*/ 816902 h 6861600"/>
              <a:gd name="connsiteX93" fmla="*/ 11595418 w 12193200"/>
              <a:gd name="connsiteY93" fmla="*/ 819071 h 6861600"/>
              <a:gd name="connsiteX94" fmla="*/ 11602216 w 12193200"/>
              <a:gd name="connsiteY94" fmla="*/ 819071 h 6861600"/>
              <a:gd name="connsiteX95" fmla="*/ 11604654 w 12193200"/>
              <a:gd name="connsiteY95" fmla="*/ 816902 h 6861600"/>
              <a:gd name="connsiteX96" fmla="*/ 11604654 w 12193200"/>
              <a:gd name="connsiteY96" fmla="*/ 760774 h 6861600"/>
              <a:gd name="connsiteX97" fmla="*/ 11611452 w 12193200"/>
              <a:gd name="connsiteY97" fmla="*/ 754764 h 6861600"/>
              <a:gd name="connsiteX98" fmla="*/ 11625943 w 12193200"/>
              <a:gd name="connsiteY98" fmla="*/ 761033 h 6861600"/>
              <a:gd name="connsiteX99" fmla="*/ 11631823 w 12193200"/>
              <a:gd name="connsiteY99" fmla="*/ 755152 h 6861600"/>
              <a:gd name="connsiteX100" fmla="*/ 11614257 w 12193200"/>
              <a:gd name="connsiteY100" fmla="*/ 748117 h 6861600"/>
              <a:gd name="connsiteX101" fmla="*/ 11553619 w 12193200"/>
              <a:gd name="connsiteY101" fmla="*/ 748117 h 6861600"/>
              <a:gd name="connsiteX102" fmla="*/ 11536236 w 12193200"/>
              <a:gd name="connsiteY102" fmla="*/ 753124 h 6861600"/>
              <a:gd name="connsiteX103" fmla="*/ 11523450 w 12193200"/>
              <a:gd name="connsiteY103" fmla="*/ 784954 h 6861600"/>
              <a:gd name="connsiteX104" fmla="*/ 11536236 w 12193200"/>
              <a:gd name="connsiteY104" fmla="*/ 816654 h 6861600"/>
              <a:gd name="connsiteX105" fmla="*/ 11553619 w 12193200"/>
              <a:gd name="connsiteY105" fmla="*/ 821531 h 6861600"/>
              <a:gd name="connsiteX106" fmla="*/ 11571001 w 12193200"/>
              <a:gd name="connsiteY106" fmla="*/ 816654 h 6861600"/>
              <a:gd name="connsiteX107" fmla="*/ 11583917 w 12193200"/>
              <a:gd name="connsiteY107" fmla="*/ 784954 h 6861600"/>
              <a:gd name="connsiteX108" fmla="*/ 11571001 w 12193200"/>
              <a:gd name="connsiteY108" fmla="*/ 753124 h 6861600"/>
              <a:gd name="connsiteX109" fmla="*/ 11553619 w 12193200"/>
              <a:gd name="connsiteY109" fmla="*/ 748117 h 6861600"/>
              <a:gd name="connsiteX110" fmla="*/ 11486031 w 12193200"/>
              <a:gd name="connsiteY110" fmla="*/ 748117 h 6861600"/>
              <a:gd name="connsiteX111" fmla="*/ 11465229 w 12193200"/>
              <a:gd name="connsiteY111" fmla="*/ 751452 h 6861600"/>
              <a:gd name="connsiteX112" fmla="*/ 11459230 w 12193200"/>
              <a:gd name="connsiteY112" fmla="*/ 756965 h 6861600"/>
              <a:gd name="connsiteX113" fmla="*/ 11459230 w 12193200"/>
              <a:gd name="connsiteY113" fmla="*/ 817010 h 6861600"/>
              <a:gd name="connsiteX114" fmla="*/ 11461787 w 12193200"/>
              <a:gd name="connsiteY114" fmla="*/ 819449 h 6861600"/>
              <a:gd name="connsiteX115" fmla="*/ 11468422 w 12193200"/>
              <a:gd name="connsiteY115" fmla="*/ 819449 h 6861600"/>
              <a:gd name="connsiteX116" fmla="*/ 11471228 w 12193200"/>
              <a:gd name="connsiteY116" fmla="*/ 816751 h 6861600"/>
              <a:gd name="connsiteX117" fmla="*/ 11471228 w 12193200"/>
              <a:gd name="connsiteY117" fmla="*/ 761454 h 6861600"/>
              <a:gd name="connsiteX118" fmla="*/ 11485654 w 12193200"/>
              <a:gd name="connsiteY118" fmla="*/ 755422 h 6861600"/>
              <a:gd name="connsiteX119" fmla="*/ 11501223 w 12193200"/>
              <a:gd name="connsiteY119" fmla="*/ 771844 h 6861600"/>
              <a:gd name="connsiteX120" fmla="*/ 11501223 w 12193200"/>
              <a:gd name="connsiteY120" fmla="*/ 816751 h 6861600"/>
              <a:gd name="connsiteX121" fmla="*/ 11504288 w 12193200"/>
              <a:gd name="connsiteY121" fmla="*/ 819449 h 6861600"/>
              <a:gd name="connsiteX122" fmla="*/ 11511690 w 12193200"/>
              <a:gd name="connsiteY122" fmla="*/ 819449 h 6861600"/>
              <a:gd name="connsiteX123" fmla="*/ 11512963 w 12193200"/>
              <a:gd name="connsiteY123" fmla="*/ 816762 h 6861600"/>
              <a:gd name="connsiteX124" fmla="*/ 11512963 w 12193200"/>
              <a:gd name="connsiteY124" fmla="*/ 770312 h 6861600"/>
              <a:gd name="connsiteX125" fmla="*/ 11486031 w 12193200"/>
              <a:gd name="connsiteY125" fmla="*/ 748117 h 6861600"/>
              <a:gd name="connsiteX126" fmla="*/ 11389700 w 12193200"/>
              <a:gd name="connsiteY126" fmla="*/ 748117 h 6861600"/>
              <a:gd name="connsiteX127" fmla="*/ 11372242 w 12193200"/>
              <a:gd name="connsiteY127" fmla="*/ 753124 h 6861600"/>
              <a:gd name="connsiteX128" fmla="*/ 11359402 w 12193200"/>
              <a:gd name="connsiteY128" fmla="*/ 784954 h 6861600"/>
              <a:gd name="connsiteX129" fmla="*/ 11372242 w 12193200"/>
              <a:gd name="connsiteY129" fmla="*/ 816654 h 6861600"/>
              <a:gd name="connsiteX130" fmla="*/ 11389700 w 12193200"/>
              <a:gd name="connsiteY130" fmla="*/ 821531 h 6861600"/>
              <a:gd name="connsiteX131" fmla="*/ 11407158 w 12193200"/>
              <a:gd name="connsiteY131" fmla="*/ 816654 h 6861600"/>
              <a:gd name="connsiteX132" fmla="*/ 11420127 w 12193200"/>
              <a:gd name="connsiteY132" fmla="*/ 784954 h 6861600"/>
              <a:gd name="connsiteX133" fmla="*/ 11407158 w 12193200"/>
              <a:gd name="connsiteY133" fmla="*/ 753124 h 6861600"/>
              <a:gd name="connsiteX134" fmla="*/ 11389700 w 12193200"/>
              <a:gd name="connsiteY134" fmla="*/ 748117 h 6861600"/>
              <a:gd name="connsiteX135" fmla="*/ 11267473 w 12193200"/>
              <a:gd name="connsiteY135" fmla="*/ 748117 h 6861600"/>
              <a:gd name="connsiteX136" fmla="*/ 11250015 w 12193200"/>
              <a:gd name="connsiteY136" fmla="*/ 753124 h 6861600"/>
              <a:gd name="connsiteX137" fmla="*/ 11237046 w 12193200"/>
              <a:gd name="connsiteY137" fmla="*/ 784954 h 6861600"/>
              <a:gd name="connsiteX138" fmla="*/ 11250015 w 12193200"/>
              <a:gd name="connsiteY138" fmla="*/ 816654 h 6861600"/>
              <a:gd name="connsiteX139" fmla="*/ 11267473 w 12193200"/>
              <a:gd name="connsiteY139" fmla="*/ 821531 h 6861600"/>
              <a:gd name="connsiteX140" fmla="*/ 11284931 w 12193200"/>
              <a:gd name="connsiteY140" fmla="*/ 816654 h 6861600"/>
              <a:gd name="connsiteX141" fmla="*/ 11297771 w 12193200"/>
              <a:gd name="connsiteY141" fmla="*/ 784954 h 6861600"/>
              <a:gd name="connsiteX142" fmla="*/ 11284931 w 12193200"/>
              <a:gd name="connsiteY142" fmla="*/ 753124 h 6861600"/>
              <a:gd name="connsiteX143" fmla="*/ 11267473 w 12193200"/>
              <a:gd name="connsiteY143" fmla="*/ 748117 h 6861600"/>
              <a:gd name="connsiteX144" fmla="*/ 11199756 w 12193200"/>
              <a:gd name="connsiteY144" fmla="*/ 748117 h 6861600"/>
              <a:gd name="connsiteX145" fmla="*/ 11178857 w 12193200"/>
              <a:gd name="connsiteY145" fmla="*/ 751452 h 6861600"/>
              <a:gd name="connsiteX146" fmla="*/ 11172825 w 12193200"/>
              <a:gd name="connsiteY146" fmla="*/ 756965 h 6861600"/>
              <a:gd name="connsiteX147" fmla="*/ 11172825 w 12193200"/>
              <a:gd name="connsiteY147" fmla="*/ 817010 h 6861600"/>
              <a:gd name="connsiteX148" fmla="*/ 11175263 w 12193200"/>
              <a:gd name="connsiteY148" fmla="*/ 819449 h 6861600"/>
              <a:gd name="connsiteX149" fmla="*/ 11181932 w 12193200"/>
              <a:gd name="connsiteY149" fmla="*/ 819449 h 6861600"/>
              <a:gd name="connsiteX150" fmla="*/ 11184748 w 12193200"/>
              <a:gd name="connsiteY150" fmla="*/ 816751 h 6861600"/>
              <a:gd name="connsiteX151" fmla="*/ 11184748 w 12193200"/>
              <a:gd name="connsiteY151" fmla="*/ 761454 h 6861600"/>
              <a:gd name="connsiteX152" fmla="*/ 11199238 w 12193200"/>
              <a:gd name="connsiteY152" fmla="*/ 755422 h 6861600"/>
              <a:gd name="connsiteX153" fmla="*/ 11214884 w 12193200"/>
              <a:gd name="connsiteY153" fmla="*/ 771844 h 6861600"/>
              <a:gd name="connsiteX154" fmla="*/ 11214884 w 12193200"/>
              <a:gd name="connsiteY154" fmla="*/ 816751 h 6861600"/>
              <a:gd name="connsiteX155" fmla="*/ 11217959 w 12193200"/>
              <a:gd name="connsiteY155" fmla="*/ 819449 h 6861600"/>
              <a:gd name="connsiteX156" fmla="*/ 11225393 w 12193200"/>
              <a:gd name="connsiteY156" fmla="*/ 819449 h 6861600"/>
              <a:gd name="connsiteX157" fmla="*/ 11226817 w 12193200"/>
              <a:gd name="connsiteY157" fmla="*/ 816762 h 6861600"/>
              <a:gd name="connsiteX158" fmla="*/ 11226817 w 12193200"/>
              <a:gd name="connsiteY158" fmla="*/ 770312 h 6861600"/>
              <a:gd name="connsiteX159" fmla="*/ 11199756 w 12193200"/>
              <a:gd name="connsiteY159" fmla="*/ 748117 h 6861600"/>
              <a:gd name="connsiteX160" fmla="*/ 11681273 w 12193200"/>
              <a:gd name="connsiteY160" fmla="*/ 724801 h 6861600"/>
              <a:gd name="connsiteX161" fmla="*/ 11678845 w 12193200"/>
              <a:gd name="connsiteY161" fmla="*/ 727876 h 6861600"/>
              <a:gd name="connsiteX162" fmla="*/ 11678845 w 12193200"/>
              <a:gd name="connsiteY162" fmla="*/ 752250 h 6861600"/>
              <a:gd name="connsiteX163" fmla="*/ 11664279 w 12193200"/>
              <a:gd name="connsiteY163" fmla="*/ 748527 h 6861600"/>
              <a:gd name="connsiteX164" fmla="*/ 11632848 w 12193200"/>
              <a:gd name="connsiteY164" fmla="*/ 784954 h 6861600"/>
              <a:gd name="connsiteX165" fmla="*/ 11666707 w 12193200"/>
              <a:gd name="connsiteY165" fmla="*/ 821510 h 6861600"/>
              <a:gd name="connsiteX166" fmla="*/ 11690477 w 12193200"/>
              <a:gd name="connsiteY166" fmla="*/ 812036 h 6861600"/>
              <a:gd name="connsiteX167" fmla="*/ 11690477 w 12193200"/>
              <a:gd name="connsiteY167" fmla="*/ 727498 h 6861600"/>
              <a:gd name="connsiteX168" fmla="*/ 11687919 w 12193200"/>
              <a:gd name="connsiteY168" fmla="*/ 724801 h 6861600"/>
              <a:gd name="connsiteX169" fmla="*/ 11681273 w 12193200"/>
              <a:gd name="connsiteY169" fmla="*/ 724801 h 6861600"/>
              <a:gd name="connsiteX170" fmla="*/ 11786797 w 12193200"/>
              <a:gd name="connsiteY170" fmla="*/ 724552 h 6861600"/>
              <a:gd name="connsiteX171" fmla="*/ 11784607 w 12193200"/>
              <a:gd name="connsiteY171" fmla="*/ 726732 h 6861600"/>
              <a:gd name="connsiteX172" fmla="*/ 11784607 w 12193200"/>
              <a:gd name="connsiteY172" fmla="*/ 817280 h 6861600"/>
              <a:gd name="connsiteX173" fmla="*/ 11786797 w 12193200"/>
              <a:gd name="connsiteY173" fmla="*/ 819330 h 6861600"/>
              <a:gd name="connsiteX174" fmla="*/ 11793864 w 12193200"/>
              <a:gd name="connsiteY174" fmla="*/ 819330 h 6861600"/>
              <a:gd name="connsiteX175" fmla="*/ 11796303 w 12193200"/>
              <a:gd name="connsiteY175" fmla="*/ 817409 h 6861600"/>
              <a:gd name="connsiteX176" fmla="*/ 11796303 w 12193200"/>
              <a:gd name="connsiteY176" fmla="*/ 726473 h 6861600"/>
              <a:gd name="connsiteX177" fmla="*/ 11793864 w 12193200"/>
              <a:gd name="connsiteY177" fmla="*/ 724552 h 6861600"/>
              <a:gd name="connsiteX178" fmla="*/ 11786797 w 12193200"/>
              <a:gd name="connsiteY178" fmla="*/ 724552 h 6861600"/>
              <a:gd name="connsiteX179" fmla="*/ 11712617 w 12193200"/>
              <a:gd name="connsiteY179" fmla="*/ 723776 h 6861600"/>
              <a:gd name="connsiteX180" fmla="*/ 11705237 w 12193200"/>
              <a:gd name="connsiteY180" fmla="*/ 730940 h 6861600"/>
              <a:gd name="connsiteX181" fmla="*/ 11712358 w 12193200"/>
              <a:gd name="connsiteY181" fmla="*/ 737975 h 6861600"/>
              <a:gd name="connsiteX182" fmla="*/ 11719609 w 12193200"/>
              <a:gd name="connsiteY182" fmla="*/ 730433 h 6861600"/>
              <a:gd name="connsiteX183" fmla="*/ 11712617 w 12193200"/>
              <a:gd name="connsiteY183" fmla="*/ 723776 h 6861600"/>
              <a:gd name="connsiteX184" fmla="*/ 11855021 w 12193200"/>
              <a:gd name="connsiteY184" fmla="*/ 713601 h 6861600"/>
              <a:gd name="connsiteX185" fmla="*/ 11855284 w 12193200"/>
              <a:gd name="connsiteY185" fmla="*/ 713794 h 6861600"/>
              <a:gd name="connsiteX186" fmla="*/ 11855021 w 12193200"/>
              <a:gd name="connsiteY186" fmla="*/ 713860 h 6861600"/>
              <a:gd name="connsiteX187" fmla="*/ 11855021 w 12193200"/>
              <a:gd name="connsiteY187" fmla="*/ 713601 h 6861600"/>
              <a:gd name="connsiteX188" fmla="*/ 11847209 w 12193200"/>
              <a:gd name="connsiteY188" fmla="*/ 704235 h 6861600"/>
              <a:gd name="connsiteX189" fmla="*/ 11851428 w 12193200"/>
              <a:gd name="connsiteY189" fmla="*/ 704235 h 6861600"/>
              <a:gd name="connsiteX190" fmla="*/ 11857190 w 12193200"/>
              <a:gd name="connsiteY190" fmla="*/ 707699 h 6861600"/>
              <a:gd name="connsiteX191" fmla="*/ 11851817 w 12193200"/>
              <a:gd name="connsiteY191" fmla="*/ 711162 h 6861600"/>
              <a:gd name="connsiteX192" fmla="*/ 11847209 w 12193200"/>
              <a:gd name="connsiteY192" fmla="*/ 711162 h 6861600"/>
              <a:gd name="connsiteX193" fmla="*/ 11843627 w 12193200"/>
              <a:gd name="connsiteY193" fmla="*/ 701020 h 6861600"/>
              <a:gd name="connsiteX194" fmla="*/ 11843627 w 12193200"/>
              <a:gd name="connsiteY194" fmla="*/ 724250 h 6861600"/>
              <a:gd name="connsiteX195" fmla="*/ 11847468 w 12193200"/>
              <a:gd name="connsiteY195" fmla="*/ 724250 h 6861600"/>
              <a:gd name="connsiteX196" fmla="*/ 11847468 w 12193200"/>
              <a:gd name="connsiteY196" fmla="*/ 714367 h 6861600"/>
              <a:gd name="connsiteX197" fmla="*/ 11849648 w 12193200"/>
              <a:gd name="connsiteY197" fmla="*/ 714367 h 6861600"/>
              <a:gd name="connsiteX198" fmla="*/ 11856553 w 12193200"/>
              <a:gd name="connsiteY198" fmla="*/ 720528 h 6861600"/>
              <a:gd name="connsiteX199" fmla="*/ 11858603 w 12193200"/>
              <a:gd name="connsiteY199" fmla="*/ 724121 h 6861600"/>
              <a:gd name="connsiteX200" fmla="*/ 11863081 w 12193200"/>
              <a:gd name="connsiteY200" fmla="*/ 724121 h 6861600"/>
              <a:gd name="connsiteX201" fmla="*/ 11860265 w 12193200"/>
              <a:gd name="connsiteY201" fmla="*/ 719503 h 6861600"/>
              <a:gd name="connsiteX202" fmla="*/ 11857064 w 12193200"/>
              <a:gd name="connsiteY202" fmla="*/ 715107 h 6861600"/>
              <a:gd name="connsiteX203" fmla="*/ 11855284 w 12193200"/>
              <a:gd name="connsiteY203" fmla="*/ 713794 h 6861600"/>
              <a:gd name="connsiteX204" fmla="*/ 11858039 w 12193200"/>
              <a:gd name="connsiteY204" fmla="*/ 713106 h 6861600"/>
              <a:gd name="connsiteX205" fmla="*/ 11861549 w 12193200"/>
              <a:gd name="connsiteY205" fmla="*/ 707310 h 6861600"/>
              <a:gd name="connsiteX206" fmla="*/ 11859370 w 12193200"/>
              <a:gd name="connsiteY206" fmla="*/ 702822 h 6861600"/>
              <a:gd name="connsiteX207" fmla="*/ 11851817 w 12193200"/>
              <a:gd name="connsiteY207" fmla="*/ 701020 h 6861600"/>
              <a:gd name="connsiteX208" fmla="*/ 11843627 w 12193200"/>
              <a:gd name="connsiteY208" fmla="*/ 701020 h 6861600"/>
              <a:gd name="connsiteX209" fmla="*/ 11852712 w 12193200"/>
              <a:gd name="connsiteY209" fmla="*/ 694611 h 6861600"/>
              <a:gd name="connsiteX210" fmla="*/ 11870623 w 12193200"/>
              <a:gd name="connsiteY210" fmla="*/ 712446 h 6861600"/>
              <a:gd name="connsiteX211" fmla="*/ 11852712 w 12193200"/>
              <a:gd name="connsiteY211" fmla="*/ 730541 h 6861600"/>
              <a:gd name="connsiteX212" fmla="*/ 11834931 w 12193200"/>
              <a:gd name="connsiteY212" fmla="*/ 712446 h 6861600"/>
              <a:gd name="connsiteX213" fmla="*/ 11852712 w 12193200"/>
              <a:gd name="connsiteY213" fmla="*/ 694611 h 6861600"/>
              <a:gd name="connsiteX214" fmla="*/ 11852712 w 12193200"/>
              <a:gd name="connsiteY214" fmla="*/ 690888 h 6861600"/>
              <a:gd name="connsiteX215" fmla="*/ 11831348 w 12193200"/>
              <a:gd name="connsiteY215" fmla="*/ 712446 h 6861600"/>
              <a:gd name="connsiteX216" fmla="*/ 11852712 w 12193200"/>
              <a:gd name="connsiteY216" fmla="*/ 734004 h 6861600"/>
              <a:gd name="connsiteX217" fmla="*/ 11874076 w 12193200"/>
              <a:gd name="connsiteY217" fmla="*/ 712446 h 6861600"/>
              <a:gd name="connsiteX218" fmla="*/ 11852712 w 12193200"/>
              <a:gd name="connsiteY218" fmla="*/ 690888 h 6861600"/>
              <a:gd name="connsiteX219" fmla="*/ 11639380 w 12193200"/>
              <a:gd name="connsiteY219" fmla="*/ 551044 h 6861600"/>
              <a:gd name="connsiteX220" fmla="*/ 11641189 w 12193200"/>
              <a:gd name="connsiteY220" fmla="*/ 551862 h 6861600"/>
              <a:gd name="connsiteX221" fmla="*/ 11644652 w 12193200"/>
              <a:gd name="connsiteY221" fmla="*/ 634274 h 6861600"/>
              <a:gd name="connsiteX222" fmla="*/ 11640682 w 12193200"/>
              <a:gd name="connsiteY222" fmla="*/ 633508 h 6861600"/>
              <a:gd name="connsiteX223" fmla="*/ 11634273 w 12193200"/>
              <a:gd name="connsiteY223" fmla="*/ 599671 h 6861600"/>
              <a:gd name="connsiteX224" fmla="*/ 11638243 w 12193200"/>
              <a:gd name="connsiteY224" fmla="*/ 552250 h 6861600"/>
              <a:gd name="connsiteX225" fmla="*/ 11639380 w 12193200"/>
              <a:gd name="connsiteY225" fmla="*/ 551044 h 6861600"/>
              <a:gd name="connsiteX226" fmla="*/ 11490639 w 12193200"/>
              <a:gd name="connsiteY226" fmla="*/ 502002 h 6861600"/>
              <a:gd name="connsiteX227" fmla="*/ 11550015 w 12193200"/>
              <a:gd name="connsiteY227" fmla="*/ 504052 h 6861600"/>
              <a:gd name="connsiteX228" fmla="*/ 11548343 w 12193200"/>
              <a:gd name="connsiteY228" fmla="*/ 536605 h 6861600"/>
              <a:gd name="connsiteX229" fmla="*/ 11499486 w 12193200"/>
              <a:gd name="connsiteY229" fmla="*/ 541094 h 6861600"/>
              <a:gd name="connsiteX230" fmla="*/ 11492948 w 12193200"/>
              <a:gd name="connsiteY230" fmla="*/ 533659 h 6861600"/>
              <a:gd name="connsiteX231" fmla="*/ 11490639 w 12193200"/>
              <a:gd name="connsiteY231" fmla="*/ 502002 h 6861600"/>
              <a:gd name="connsiteX232" fmla="*/ 11594253 w 12193200"/>
              <a:gd name="connsiteY232" fmla="*/ 498797 h 6861600"/>
              <a:gd name="connsiteX233" fmla="*/ 11598612 w 12193200"/>
              <a:gd name="connsiteY233" fmla="*/ 520075 h 6861600"/>
              <a:gd name="connsiteX234" fmla="*/ 11588351 w 12193200"/>
              <a:gd name="connsiteY234" fmla="*/ 527509 h 6861600"/>
              <a:gd name="connsiteX235" fmla="*/ 11580011 w 12193200"/>
              <a:gd name="connsiteY235" fmla="*/ 500718 h 6861600"/>
              <a:gd name="connsiteX236" fmla="*/ 11594253 w 12193200"/>
              <a:gd name="connsiteY236" fmla="*/ 498797 h 6861600"/>
              <a:gd name="connsiteX237" fmla="*/ 11441405 w 12193200"/>
              <a:gd name="connsiteY237" fmla="*/ 491374 h 6861600"/>
              <a:gd name="connsiteX238" fmla="*/ 11460384 w 12193200"/>
              <a:gd name="connsiteY238" fmla="*/ 496499 h 6861600"/>
              <a:gd name="connsiteX239" fmla="*/ 11442948 w 12193200"/>
              <a:gd name="connsiteY239" fmla="*/ 533670 h 6861600"/>
              <a:gd name="connsiteX240" fmla="*/ 11434607 w 12193200"/>
              <a:gd name="connsiteY240" fmla="*/ 527131 h 6861600"/>
              <a:gd name="connsiteX241" fmla="*/ 11441405 w 12193200"/>
              <a:gd name="connsiteY241" fmla="*/ 491374 h 6861600"/>
              <a:gd name="connsiteX242" fmla="*/ 11419441 w 12193200"/>
              <a:gd name="connsiteY242" fmla="*/ 484343 h 6861600"/>
              <a:gd name="connsiteX243" fmla="*/ 11431543 w 12193200"/>
              <a:gd name="connsiteY243" fmla="*/ 488299 h 6861600"/>
              <a:gd name="connsiteX244" fmla="*/ 11423202 w 12193200"/>
              <a:gd name="connsiteY244" fmla="*/ 532257 h 6861600"/>
              <a:gd name="connsiteX245" fmla="*/ 11444102 w 12193200"/>
              <a:gd name="connsiteY245" fmla="*/ 543154 h 6861600"/>
              <a:gd name="connsiteX246" fmla="*/ 11469620 w 12193200"/>
              <a:gd name="connsiteY246" fmla="*/ 498549 h 6861600"/>
              <a:gd name="connsiteX247" fmla="*/ 11481672 w 12193200"/>
              <a:gd name="connsiteY247" fmla="*/ 500729 h 6861600"/>
              <a:gd name="connsiteX248" fmla="*/ 11485395 w 12193200"/>
              <a:gd name="connsiteY248" fmla="*/ 542507 h 6861600"/>
              <a:gd name="connsiteX249" fmla="*/ 11498472 w 12193200"/>
              <a:gd name="connsiteY249" fmla="*/ 550707 h 6861600"/>
              <a:gd name="connsiteX250" fmla="*/ 11555917 w 12193200"/>
              <a:gd name="connsiteY250" fmla="*/ 543532 h 6861600"/>
              <a:gd name="connsiteX251" fmla="*/ 11559122 w 12193200"/>
              <a:gd name="connsiteY251" fmla="*/ 503286 h 6861600"/>
              <a:gd name="connsiteX252" fmla="*/ 11570149 w 12193200"/>
              <a:gd name="connsiteY252" fmla="*/ 502002 h 6861600"/>
              <a:gd name="connsiteX253" fmla="*/ 11579385 w 12193200"/>
              <a:gd name="connsiteY253" fmla="*/ 528405 h 6861600"/>
              <a:gd name="connsiteX254" fmla="*/ 11598752 w 12193200"/>
              <a:gd name="connsiteY254" fmla="*/ 531739 h 6861600"/>
              <a:gd name="connsiteX255" fmla="*/ 11602723 w 12193200"/>
              <a:gd name="connsiteY255" fmla="*/ 497772 h 6861600"/>
              <a:gd name="connsiteX256" fmla="*/ 11625673 w 12193200"/>
              <a:gd name="connsiteY256" fmla="*/ 533282 h 6861600"/>
              <a:gd name="connsiteX257" fmla="*/ 11612855 w 12193200"/>
              <a:gd name="connsiteY257" fmla="*/ 586216 h 6861600"/>
              <a:gd name="connsiteX258" fmla="*/ 11537326 w 12193200"/>
              <a:gd name="connsiteY258" fmla="*/ 569427 h 6861600"/>
              <a:gd name="connsiteX259" fmla="*/ 11459488 w 12193200"/>
              <a:gd name="connsiteY259" fmla="*/ 611465 h 6861600"/>
              <a:gd name="connsiteX260" fmla="*/ 11456154 w 12193200"/>
              <a:gd name="connsiteY260" fmla="*/ 612360 h 6861600"/>
              <a:gd name="connsiteX261" fmla="*/ 11418325 w 12193200"/>
              <a:gd name="connsiteY261" fmla="*/ 585191 h 6861600"/>
              <a:gd name="connsiteX262" fmla="*/ 11388707 w 12193200"/>
              <a:gd name="connsiteY262" fmla="*/ 549434 h 6861600"/>
              <a:gd name="connsiteX263" fmla="*/ 11414743 w 12193200"/>
              <a:gd name="connsiteY263" fmla="*/ 487403 h 6861600"/>
              <a:gd name="connsiteX264" fmla="*/ 11419441 w 12193200"/>
              <a:gd name="connsiteY264" fmla="*/ 484343 h 6861600"/>
              <a:gd name="connsiteX265" fmla="*/ 11358173 w 12193200"/>
              <a:gd name="connsiteY265" fmla="*/ 469801 h 6861600"/>
              <a:gd name="connsiteX266" fmla="*/ 11346260 w 12193200"/>
              <a:gd name="connsiteY266" fmla="*/ 478275 h 6861600"/>
              <a:gd name="connsiteX267" fmla="*/ 11361744 w 12193200"/>
              <a:gd name="connsiteY267" fmla="*/ 470744 h 6861600"/>
              <a:gd name="connsiteX268" fmla="*/ 11358173 w 12193200"/>
              <a:gd name="connsiteY268" fmla="*/ 469801 h 6861600"/>
              <a:gd name="connsiteX269" fmla="*/ 11354455 w 12193200"/>
              <a:gd name="connsiteY269" fmla="*/ 453696 h 6861600"/>
              <a:gd name="connsiteX270" fmla="*/ 11379471 w 12193200"/>
              <a:gd name="connsiteY270" fmla="*/ 464454 h 6861600"/>
              <a:gd name="connsiteX271" fmla="*/ 11401267 w 12193200"/>
              <a:gd name="connsiteY271" fmla="*/ 487522 h 6861600"/>
              <a:gd name="connsiteX272" fmla="*/ 11376515 w 12193200"/>
              <a:gd name="connsiteY272" fmla="*/ 541611 h 6861600"/>
              <a:gd name="connsiteX273" fmla="*/ 11357665 w 12193200"/>
              <a:gd name="connsiteY273" fmla="*/ 511745 h 6861600"/>
              <a:gd name="connsiteX274" fmla="*/ 11330734 w 12193200"/>
              <a:gd name="connsiteY274" fmla="*/ 504052 h 6861600"/>
              <a:gd name="connsiteX275" fmla="*/ 11328166 w 12193200"/>
              <a:gd name="connsiteY275" fmla="*/ 491881 h 6861600"/>
              <a:gd name="connsiteX276" fmla="*/ 11335600 w 12193200"/>
              <a:gd name="connsiteY276" fmla="*/ 481879 h 6861600"/>
              <a:gd name="connsiteX277" fmla="*/ 11338297 w 12193200"/>
              <a:gd name="connsiteY277" fmla="*/ 470604 h 6861600"/>
              <a:gd name="connsiteX278" fmla="*/ 11349972 w 12193200"/>
              <a:gd name="connsiteY278" fmla="*/ 456124 h 6861600"/>
              <a:gd name="connsiteX279" fmla="*/ 11354455 w 12193200"/>
              <a:gd name="connsiteY279" fmla="*/ 453696 h 6861600"/>
              <a:gd name="connsiteX280" fmla="*/ 11324025 w 12193200"/>
              <a:gd name="connsiteY280" fmla="*/ 392924 h 6861600"/>
              <a:gd name="connsiteX281" fmla="*/ 11322134 w 12193200"/>
              <a:gd name="connsiteY281" fmla="*/ 400006 h 6861600"/>
              <a:gd name="connsiteX282" fmla="*/ 11335988 w 12193200"/>
              <a:gd name="connsiteY282" fmla="*/ 441536 h 6861600"/>
              <a:gd name="connsiteX283" fmla="*/ 11339193 w 12193200"/>
              <a:gd name="connsiteY283" fmla="*/ 451786 h 6861600"/>
              <a:gd name="connsiteX284" fmla="*/ 11328425 w 12193200"/>
              <a:gd name="connsiteY284" fmla="*/ 467162 h 6861600"/>
              <a:gd name="connsiteX285" fmla="*/ 11327270 w 12193200"/>
              <a:gd name="connsiteY285" fmla="*/ 474855 h 6861600"/>
              <a:gd name="connsiteX286" fmla="*/ 11315477 w 12193200"/>
              <a:gd name="connsiteY286" fmla="*/ 490748 h 6861600"/>
              <a:gd name="connsiteX287" fmla="*/ 11317268 w 12193200"/>
              <a:gd name="connsiteY287" fmla="*/ 503696 h 6861600"/>
              <a:gd name="connsiteX288" fmla="*/ 11327788 w 12193200"/>
              <a:gd name="connsiteY288" fmla="*/ 514594 h 6861600"/>
              <a:gd name="connsiteX289" fmla="*/ 11341890 w 12193200"/>
              <a:gd name="connsiteY289" fmla="*/ 516137 h 6861600"/>
              <a:gd name="connsiteX290" fmla="*/ 11358561 w 12193200"/>
              <a:gd name="connsiteY290" fmla="*/ 529214 h 6861600"/>
              <a:gd name="connsiteX291" fmla="*/ 11388308 w 12193200"/>
              <a:gd name="connsiteY291" fmla="*/ 580476 h 6861600"/>
              <a:gd name="connsiteX292" fmla="*/ 11394717 w 12193200"/>
              <a:gd name="connsiteY292" fmla="*/ 606490 h 6861600"/>
              <a:gd name="connsiteX293" fmla="*/ 11360611 w 12193200"/>
              <a:gd name="connsiteY293" fmla="*/ 709026 h 6861600"/>
              <a:gd name="connsiteX294" fmla="*/ 11362402 w 12193200"/>
              <a:gd name="connsiteY294" fmla="*/ 719406 h 6861600"/>
              <a:gd name="connsiteX295" fmla="*/ 11388567 w 12193200"/>
              <a:gd name="connsiteY295" fmla="*/ 719406 h 6861600"/>
              <a:gd name="connsiteX296" fmla="*/ 11394210 w 12193200"/>
              <a:gd name="connsiteY296" fmla="*/ 711972 h 6861600"/>
              <a:gd name="connsiteX297" fmla="*/ 11429094 w 12193200"/>
              <a:gd name="connsiteY297" fmla="*/ 608411 h 6861600"/>
              <a:gd name="connsiteX298" fmla="*/ 11464484 w 12193200"/>
              <a:gd name="connsiteY298" fmla="*/ 709921 h 6861600"/>
              <a:gd name="connsiteX299" fmla="*/ 11468207 w 12193200"/>
              <a:gd name="connsiteY299" fmla="*/ 719665 h 6861600"/>
              <a:gd name="connsiteX300" fmla="*/ 11490650 w 12193200"/>
              <a:gd name="connsiteY300" fmla="*/ 719665 h 6861600"/>
              <a:gd name="connsiteX301" fmla="*/ 11497954 w 12193200"/>
              <a:gd name="connsiteY301" fmla="*/ 713126 h 6861600"/>
              <a:gd name="connsiteX302" fmla="*/ 11473979 w 12193200"/>
              <a:gd name="connsiteY302" fmla="*/ 619309 h 6861600"/>
              <a:gd name="connsiteX303" fmla="*/ 11535276 w 12193200"/>
              <a:gd name="connsiteY303" fmla="*/ 595345 h 6861600"/>
              <a:gd name="connsiteX304" fmla="*/ 11569383 w 12193200"/>
              <a:gd name="connsiteY304" fmla="*/ 622136 h 6861600"/>
              <a:gd name="connsiteX305" fmla="*/ 11512315 w 12193200"/>
              <a:gd name="connsiteY305" fmla="*/ 709932 h 6861600"/>
              <a:gd name="connsiteX306" fmla="*/ 11514624 w 12193200"/>
              <a:gd name="connsiteY306" fmla="*/ 719417 h 6861600"/>
              <a:gd name="connsiteX307" fmla="*/ 11538351 w 12193200"/>
              <a:gd name="connsiteY307" fmla="*/ 719417 h 6861600"/>
              <a:gd name="connsiteX308" fmla="*/ 11547069 w 12193200"/>
              <a:gd name="connsiteY308" fmla="*/ 713903 h 6861600"/>
              <a:gd name="connsiteX309" fmla="*/ 11598623 w 12193200"/>
              <a:gd name="connsiteY309" fmla="*/ 630983 h 6861600"/>
              <a:gd name="connsiteX310" fmla="*/ 11608496 w 12193200"/>
              <a:gd name="connsiteY310" fmla="*/ 600869 h 6861600"/>
              <a:gd name="connsiteX311" fmla="*/ 11599130 w 12193200"/>
              <a:gd name="connsiteY311" fmla="*/ 710062 h 6861600"/>
              <a:gd name="connsiteX312" fmla="*/ 11601439 w 12193200"/>
              <a:gd name="connsiteY312" fmla="*/ 719287 h 6861600"/>
              <a:gd name="connsiteX313" fmla="*/ 11622857 w 12193200"/>
              <a:gd name="connsiteY313" fmla="*/ 719287 h 6861600"/>
              <a:gd name="connsiteX314" fmla="*/ 11629525 w 12193200"/>
              <a:gd name="connsiteY314" fmla="*/ 711087 h 6861600"/>
              <a:gd name="connsiteX315" fmla="*/ 11634650 w 12193200"/>
              <a:gd name="connsiteY315" fmla="*/ 693014 h 6861600"/>
              <a:gd name="connsiteX316" fmla="*/ 11654018 w 12193200"/>
              <a:gd name="connsiteY316" fmla="*/ 688018 h 6861600"/>
              <a:gd name="connsiteX317" fmla="*/ 11659024 w 12193200"/>
              <a:gd name="connsiteY317" fmla="*/ 680584 h 6861600"/>
              <a:gd name="connsiteX318" fmla="*/ 11654654 w 12193200"/>
              <a:gd name="connsiteY318" fmla="*/ 520852 h 6861600"/>
              <a:gd name="connsiteX319" fmla="*/ 11603360 w 12193200"/>
              <a:gd name="connsiteY319" fmla="*/ 487533 h 6861600"/>
              <a:gd name="connsiteX320" fmla="*/ 11526547 w 12193200"/>
              <a:gd name="connsiteY320" fmla="*/ 493424 h 6861600"/>
              <a:gd name="connsiteX321" fmla="*/ 11402033 w 12193200"/>
              <a:gd name="connsiteY321" fmla="*/ 464842 h 6861600"/>
              <a:gd name="connsiteX322" fmla="*/ 11401644 w 12193200"/>
              <a:gd name="connsiteY322" fmla="*/ 459199 h 6861600"/>
              <a:gd name="connsiteX323" fmla="*/ 11433960 w 12193200"/>
              <a:gd name="connsiteY323" fmla="*/ 433314 h 6861600"/>
              <a:gd name="connsiteX324" fmla="*/ 11431392 w 12193200"/>
              <a:gd name="connsiteY324" fmla="*/ 426398 h 6861600"/>
              <a:gd name="connsiteX325" fmla="*/ 11365995 w 12193200"/>
              <a:gd name="connsiteY325" fmla="*/ 438191 h 6861600"/>
              <a:gd name="connsiteX326" fmla="*/ 11327648 w 12193200"/>
              <a:gd name="connsiteY326" fmla="*/ 397568 h 6861600"/>
              <a:gd name="connsiteX327" fmla="*/ 11324025 w 12193200"/>
              <a:gd name="connsiteY327" fmla="*/ 392924 h 6861600"/>
              <a:gd name="connsiteX328" fmla="*/ 11391491 w 12193200"/>
              <a:gd name="connsiteY328" fmla="*/ 334037 h 6861600"/>
              <a:gd name="connsiteX329" fmla="*/ 11426364 w 12193200"/>
              <a:gd name="connsiteY329" fmla="*/ 368996 h 6861600"/>
              <a:gd name="connsiteX330" fmla="*/ 11391491 w 12193200"/>
              <a:gd name="connsiteY330" fmla="*/ 403955 h 6861600"/>
              <a:gd name="connsiteX331" fmla="*/ 11356360 w 12193200"/>
              <a:gd name="connsiteY331" fmla="*/ 368996 h 6861600"/>
              <a:gd name="connsiteX332" fmla="*/ 11391491 w 12193200"/>
              <a:gd name="connsiteY332" fmla="*/ 334037 h 6861600"/>
              <a:gd name="connsiteX333" fmla="*/ 11389959 w 12193200"/>
              <a:gd name="connsiteY333" fmla="*/ 321618 h 6861600"/>
              <a:gd name="connsiteX334" fmla="*/ 11337262 w 12193200"/>
              <a:gd name="connsiteY334" fmla="*/ 374510 h 6861600"/>
              <a:gd name="connsiteX335" fmla="*/ 11389959 w 12193200"/>
              <a:gd name="connsiteY335" fmla="*/ 427401 h 6861600"/>
              <a:gd name="connsiteX336" fmla="*/ 11442656 w 12193200"/>
              <a:gd name="connsiteY336" fmla="*/ 374510 h 6861600"/>
              <a:gd name="connsiteX337" fmla="*/ 11389959 w 12193200"/>
              <a:gd name="connsiteY337" fmla="*/ 321618 h 6861600"/>
              <a:gd name="connsiteX338" fmla="*/ 0 w 12193200"/>
              <a:gd name="connsiteY338" fmla="*/ 0 h 6861600"/>
              <a:gd name="connsiteX339" fmla="*/ 12193200 w 12193200"/>
              <a:gd name="connsiteY339" fmla="*/ 0 h 6861600"/>
              <a:gd name="connsiteX340" fmla="*/ 12193200 w 12193200"/>
              <a:gd name="connsiteY340" fmla="*/ 6861600 h 6861600"/>
              <a:gd name="connsiteX341" fmla="*/ 0 w 12193200"/>
              <a:gd name="connsiteY341" fmla="*/ 6861600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2193200" h="6861600">
                <a:moveTo>
                  <a:pt x="11666200" y="756760"/>
                </a:moveTo>
                <a:cubicBezTo>
                  <a:pt x="11673094" y="756760"/>
                  <a:pt x="11676288" y="758939"/>
                  <a:pt x="11678975" y="761119"/>
                </a:cubicBezTo>
                <a:cubicBezTo>
                  <a:pt x="11678975" y="808195"/>
                  <a:pt x="11678975" y="808195"/>
                  <a:pt x="11678975" y="808195"/>
                </a:cubicBezTo>
                <a:lnTo>
                  <a:pt x="11678845" y="808195"/>
                </a:lnTo>
                <a:cubicBezTo>
                  <a:pt x="11678845" y="811658"/>
                  <a:pt x="11673094" y="813579"/>
                  <a:pt x="11667095" y="813579"/>
                </a:cubicBezTo>
                <a:cubicBezTo>
                  <a:pt x="11654191" y="813579"/>
                  <a:pt x="11644998" y="802671"/>
                  <a:pt x="11644998" y="784080"/>
                </a:cubicBezTo>
                <a:cubicBezTo>
                  <a:pt x="11644998" y="767658"/>
                  <a:pt x="11653942" y="756760"/>
                  <a:pt x="11666200" y="756760"/>
                </a:cubicBezTo>
                <a:close/>
                <a:moveTo>
                  <a:pt x="11553608" y="755951"/>
                </a:moveTo>
                <a:cubicBezTo>
                  <a:pt x="11558334" y="755951"/>
                  <a:pt x="11561787" y="756976"/>
                  <a:pt x="11565369" y="760439"/>
                </a:cubicBezTo>
                <a:cubicBezTo>
                  <a:pt x="11569210" y="764032"/>
                  <a:pt x="11571638" y="771995"/>
                  <a:pt x="11571638" y="784954"/>
                </a:cubicBezTo>
                <a:cubicBezTo>
                  <a:pt x="11571638" y="797535"/>
                  <a:pt x="11569210" y="805746"/>
                  <a:pt x="11565369" y="809339"/>
                </a:cubicBezTo>
                <a:cubicBezTo>
                  <a:pt x="11561787" y="812802"/>
                  <a:pt x="11558334" y="813698"/>
                  <a:pt x="11553608" y="813698"/>
                </a:cubicBezTo>
                <a:cubicBezTo>
                  <a:pt x="11548882" y="813698"/>
                  <a:pt x="11545677" y="812802"/>
                  <a:pt x="11542106" y="809339"/>
                </a:cubicBezTo>
                <a:cubicBezTo>
                  <a:pt x="11538394" y="805746"/>
                  <a:pt x="11535837" y="797783"/>
                  <a:pt x="11535837" y="784954"/>
                </a:cubicBezTo>
                <a:cubicBezTo>
                  <a:pt x="11535837" y="772243"/>
                  <a:pt x="11538394" y="764032"/>
                  <a:pt x="11542106" y="760439"/>
                </a:cubicBezTo>
                <a:cubicBezTo>
                  <a:pt x="11545688" y="756976"/>
                  <a:pt x="11549141" y="755951"/>
                  <a:pt x="11553608" y="755951"/>
                </a:cubicBezTo>
                <a:close/>
                <a:moveTo>
                  <a:pt x="11389948" y="755951"/>
                </a:moveTo>
                <a:cubicBezTo>
                  <a:pt x="11394707" y="755951"/>
                  <a:pt x="11397911" y="756976"/>
                  <a:pt x="11401504" y="760439"/>
                </a:cubicBezTo>
                <a:cubicBezTo>
                  <a:pt x="11405356" y="764032"/>
                  <a:pt x="11407795" y="771995"/>
                  <a:pt x="11407795" y="784954"/>
                </a:cubicBezTo>
                <a:cubicBezTo>
                  <a:pt x="11407795" y="797535"/>
                  <a:pt x="11405356" y="805746"/>
                  <a:pt x="11401504" y="809339"/>
                </a:cubicBezTo>
                <a:cubicBezTo>
                  <a:pt x="11397911" y="812802"/>
                  <a:pt x="11394448" y="813698"/>
                  <a:pt x="11389948" y="813698"/>
                </a:cubicBezTo>
                <a:cubicBezTo>
                  <a:pt x="11385201" y="813698"/>
                  <a:pt x="11381985" y="812802"/>
                  <a:pt x="11378133" y="809339"/>
                </a:cubicBezTo>
                <a:cubicBezTo>
                  <a:pt x="11374411" y="805746"/>
                  <a:pt x="11371843" y="797783"/>
                  <a:pt x="11371843" y="784954"/>
                </a:cubicBezTo>
                <a:cubicBezTo>
                  <a:pt x="11371843" y="772243"/>
                  <a:pt x="11374411" y="764032"/>
                  <a:pt x="11378133" y="760439"/>
                </a:cubicBezTo>
                <a:cubicBezTo>
                  <a:pt x="11381726" y="756976"/>
                  <a:pt x="11385190" y="755951"/>
                  <a:pt x="11389948" y="755951"/>
                </a:cubicBezTo>
                <a:close/>
                <a:moveTo>
                  <a:pt x="11267462" y="755951"/>
                </a:moveTo>
                <a:cubicBezTo>
                  <a:pt x="11272210" y="755951"/>
                  <a:pt x="11275425" y="756976"/>
                  <a:pt x="11279148" y="760439"/>
                </a:cubicBezTo>
                <a:cubicBezTo>
                  <a:pt x="11282881" y="764032"/>
                  <a:pt x="11285438" y="771995"/>
                  <a:pt x="11285438" y="784954"/>
                </a:cubicBezTo>
                <a:cubicBezTo>
                  <a:pt x="11285438" y="797535"/>
                  <a:pt x="11283000" y="805746"/>
                  <a:pt x="11279148" y="809339"/>
                </a:cubicBezTo>
                <a:cubicBezTo>
                  <a:pt x="11275555" y="812802"/>
                  <a:pt x="11272210" y="813698"/>
                  <a:pt x="11267462" y="813698"/>
                </a:cubicBezTo>
                <a:cubicBezTo>
                  <a:pt x="11262715" y="813698"/>
                  <a:pt x="11259499" y="812802"/>
                  <a:pt x="11255907" y="809339"/>
                </a:cubicBezTo>
                <a:cubicBezTo>
                  <a:pt x="11252054" y="805746"/>
                  <a:pt x="11249616" y="797783"/>
                  <a:pt x="11249616" y="784954"/>
                </a:cubicBezTo>
                <a:cubicBezTo>
                  <a:pt x="11249616" y="772243"/>
                  <a:pt x="11252054" y="764032"/>
                  <a:pt x="11255907" y="760439"/>
                </a:cubicBezTo>
                <a:cubicBezTo>
                  <a:pt x="11259499" y="756976"/>
                  <a:pt x="11262844" y="755951"/>
                  <a:pt x="11267462" y="755951"/>
                </a:cubicBezTo>
                <a:close/>
                <a:moveTo>
                  <a:pt x="11708668" y="750006"/>
                </a:moveTo>
                <a:cubicBezTo>
                  <a:pt x="11706381" y="750006"/>
                  <a:pt x="11706381" y="750772"/>
                  <a:pt x="11706381" y="752433"/>
                </a:cubicBezTo>
                <a:cubicBezTo>
                  <a:pt x="11706381" y="817032"/>
                  <a:pt x="11706381" y="817032"/>
                  <a:pt x="11706381" y="817032"/>
                </a:cubicBezTo>
                <a:cubicBezTo>
                  <a:pt x="11706381" y="818952"/>
                  <a:pt x="11706381" y="819459"/>
                  <a:pt x="11708420" y="819459"/>
                </a:cubicBezTo>
                <a:cubicBezTo>
                  <a:pt x="11715671" y="819459"/>
                  <a:pt x="11715671" y="819459"/>
                  <a:pt x="11715671" y="819459"/>
                </a:cubicBezTo>
                <a:cubicBezTo>
                  <a:pt x="11717699" y="819330"/>
                  <a:pt x="11718206" y="819330"/>
                  <a:pt x="11718206" y="817032"/>
                </a:cubicBezTo>
                <a:cubicBezTo>
                  <a:pt x="11718206" y="752433"/>
                  <a:pt x="11718206" y="752433"/>
                  <a:pt x="11718206" y="752433"/>
                </a:cubicBezTo>
                <a:cubicBezTo>
                  <a:pt x="11718206" y="750383"/>
                  <a:pt x="11717699" y="750006"/>
                  <a:pt x="11715660" y="750006"/>
                </a:cubicBezTo>
                <a:cubicBezTo>
                  <a:pt x="11708668" y="750006"/>
                  <a:pt x="11708668" y="750006"/>
                  <a:pt x="11708668" y="750006"/>
                </a:cubicBezTo>
                <a:close/>
                <a:moveTo>
                  <a:pt x="11826514" y="749671"/>
                </a:moveTo>
                <a:cubicBezTo>
                  <a:pt x="11824076" y="749671"/>
                  <a:pt x="11823170" y="749542"/>
                  <a:pt x="11822404" y="751851"/>
                </a:cubicBezTo>
                <a:cubicBezTo>
                  <a:pt x="11818552" y="763374"/>
                  <a:pt x="11808647" y="775804"/>
                  <a:pt x="11798623" y="781695"/>
                </a:cubicBezTo>
                <a:cubicBezTo>
                  <a:pt x="11798234" y="782084"/>
                  <a:pt x="11798105" y="782461"/>
                  <a:pt x="11798105" y="782461"/>
                </a:cubicBezTo>
                <a:cubicBezTo>
                  <a:pt x="11798105" y="782591"/>
                  <a:pt x="11798234" y="782968"/>
                  <a:pt x="11798234" y="783227"/>
                </a:cubicBezTo>
                <a:cubicBezTo>
                  <a:pt x="11822145" y="817420"/>
                  <a:pt x="11822145" y="817420"/>
                  <a:pt x="11822145" y="817420"/>
                </a:cubicBezTo>
                <a:cubicBezTo>
                  <a:pt x="11823558" y="819470"/>
                  <a:pt x="11824076" y="819470"/>
                  <a:pt x="11826126" y="819470"/>
                </a:cubicBezTo>
                <a:cubicBezTo>
                  <a:pt x="11835254" y="819470"/>
                  <a:pt x="11835254" y="819470"/>
                  <a:pt x="11835254" y="819470"/>
                </a:cubicBezTo>
                <a:cubicBezTo>
                  <a:pt x="11835891" y="819330"/>
                  <a:pt x="11837175" y="819330"/>
                  <a:pt x="11837175" y="817798"/>
                </a:cubicBezTo>
                <a:cubicBezTo>
                  <a:pt x="11837175" y="817291"/>
                  <a:pt x="11836786" y="816643"/>
                  <a:pt x="11836279" y="816136"/>
                </a:cubicBezTo>
                <a:cubicBezTo>
                  <a:pt x="11810826" y="782450"/>
                  <a:pt x="11810826" y="782450"/>
                  <a:pt x="11810826" y="782450"/>
                </a:cubicBezTo>
                <a:cubicBezTo>
                  <a:pt x="11810567" y="782192"/>
                  <a:pt x="11810567" y="782192"/>
                  <a:pt x="11810567" y="782192"/>
                </a:cubicBezTo>
                <a:cubicBezTo>
                  <a:pt x="11819566" y="775534"/>
                  <a:pt x="11828824" y="765154"/>
                  <a:pt x="11834607" y="753890"/>
                </a:cubicBezTo>
                <a:cubicBezTo>
                  <a:pt x="11835125" y="752606"/>
                  <a:pt x="11835254" y="751969"/>
                  <a:pt x="11835254" y="751203"/>
                </a:cubicBezTo>
                <a:cubicBezTo>
                  <a:pt x="11835254" y="750049"/>
                  <a:pt x="11834607" y="749671"/>
                  <a:pt x="11832816" y="749671"/>
                </a:cubicBezTo>
                <a:cubicBezTo>
                  <a:pt x="11826514" y="749671"/>
                  <a:pt x="11826514" y="749671"/>
                  <a:pt x="11826514" y="749671"/>
                </a:cubicBezTo>
                <a:close/>
                <a:moveTo>
                  <a:pt x="11301634" y="749671"/>
                </a:moveTo>
                <a:cubicBezTo>
                  <a:pt x="11301116" y="749671"/>
                  <a:pt x="11299832" y="749671"/>
                  <a:pt x="11299832" y="751462"/>
                </a:cubicBezTo>
                <a:cubicBezTo>
                  <a:pt x="11299832" y="751980"/>
                  <a:pt x="11299961" y="752617"/>
                  <a:pt x="11300350" y="753383"/>
                </a:cubicBezTo>
                <a:cubicBezTo>
                  <a:pt x="11324605" y="817399"/>
                  <a:pt x="11324605" y="817399"/>
                  <a:pt x="11324605" y="817399"/>
                </a:cubicBezTo>
                <a:cubicBezTo>
                  <a:pt x="11325371" y="818942"/>
                  <a:pt x="11325630" y="819449"/>
                  <a:pt x="11326785" y="819449"/>
                </a:cubicBezTo>
                <a:cubicBezTo>
                  <a:pt x="11332050" y="819449"/>
                  <a:pt x="11332050" y="819449"/>
                  <a:pt x="11332050" y="819449"/>
                </a:cubicBezTo>
                <a:cubicBezTo>
                  <a:pt x="11333593" y="819449"/>
                  <a:pt x="11333971" y="819190"/>
                  <a:pt x="11334489" y="817399"/>
                </a:cubicBezTo>
                <a:cubicBezTo>
                  <a:pt x="11358108" y="753135"/>
                  <a:pt x="11358108" y="753135"/>
                  <a:pt x="11358108" y="753135"/>
                </a:cubicBezTo>
                <a:cubicBezTo>
                  <a:pt x="11358366" y="751592"/>
                  <a:pt x="11358366" y="751462"/>
                  <a:pt x="11358366" y="751085"/>
                </a:cubicBezTo>
                <a:cubicBezTo>
                  <a:pt x="11358366" y="749671"/>
                  <a:pt x="11357341" y="749671"/>
                  <a:pt x="11356694" y="749671"/>
                </a:cubicBezTo>
                <a:cubicBezTo>
                  <a:pt x="11350015" y="749671"/>
                  <a:pt x="11350015" y="749671"/>
                  <a:pt x="11350015" y="749671"/>
                </a:cubicBezTo>
                <a:cubicBezTo>
                  <a:pt x="11349120" y="749930"/>
                  <a:pt x="11348990" y="750308"/>
                  <a:pt x="11348343" y="751592"/>
                </a:cubicBezTo>
                <a:cubicBezTo>
                  <a:pt x="11330885" y="802908"/>
                  <a:pt x="11330885" y="802908"/>
                  <a:pt x="11330885" y="802908"/>
                </a:cubicBezTo>
                <a:cubicBezTo>
                  <a:pt x="11312920" y="751851"/>
                  <a:pt x="11312920" y="751851"/>
                  <a:pt x="11312920" y="751851"/>
                </a:cubicBezTo>
                <a:cubicBezTo>
                  <a:pt x="11312154" y="749930"/>
                  <a:pt x="11311895" y="749671"/>
                  <a:pt x="11309845" y="749671"/>
                </a:cubicBezTo>
                <a:cubicBezTo>
                  <a:pt x="11301634" y="749671"/>
                  <a:pt x="11301634" y="749671"/>
                  <a:pt x="11301634" y="749671"/>
                </a:cubicBezTo>
                <a:close/>
                <a:moveTo>
                  <a:pt x="11754223" y="748506"/>
                </a:moveTo>
                <a:cubicBezTo>
                  <a:pt x="11742149" y="748506"/>
                  <a:pt x="11731241" y="755185"/>
                  <a:pt x="11731241" y="767625"/>
                </a:cubicBezTo>
                <a:cubicBezTo>
                  <a:pt x="11731241" y="779300"/>
                  <a:pt x="11739462" y="784177"/>
                  <a:pt x="11749346" y="788417"/>
                </a:cubicBezTo>
                <a:cubicBezTo>
                  <a:pt x="11757050" y="791622"/>
                  <a:pt x="11764236" y="794708"/>
                  <a:pt x="11764236" y="801894"/>
                </a:cubicBezTo>
                <a:cubicBezTo>
                  <a:pt x="11764236" y="807407"/>
                  <a:pt x="11759866" y="813698"/>
                  <a:pt x="11750500" y="813698"/>
                </a:cubicBezTo>
                <a:cubicBezTo>
                  <a:pt x="11740995" y="813698"/>
                  <a:pt x="11738308" y="806641"/>
                  <a:pt x="11733679" y="806641"/>
                </a:cubicBezTo>
                <a:cubicBezTo>
                  <a:pt x="11731500" y="806641"/>
                  <a:pt x="11728673" y="807666"/>
                  <a:pt x="11728673" y="811130"/>
                </a:cubicBezTo>
                <a:cubicBezTo>
                  <a:pt x="11728673" y="816643"/>
                  <a:pt x="11739462" y="821402"/>
                  <a:pt x="11750241" y="821402"/>
                </a:cubicBezTo>
                <a:cubicBezTo>
                  <a:pt x="11762434" y="821531"/>
                  <a:pt x="11774896" y="815111"/>
                  <a:pt x="11774896" y="800610"/>
                </a:cubicBezTo>
                <a:cubicBezTo>
                  <a:pt x="11774896" y="777897"/>
                  <a:pt x="11741901" y="781490"/>
                  <a:pt x="11741901" y="766471"/>
                </a:cubicBezTo>
                <a:cubicBezTo>
                  <a:pt x="11741901" y="761335"/>
                  <a:pt x="11745882" y="756199"/>
                  <a:pt x="11753457" y="756199"/>
                </a:cubicBezTo>
                <a:cubicBezTo>
                  <a:pt x="11761290" y="756199"/>
                  <a:pt x="11763340" y="761335"/>
                  <a:pt x="11767322" y="761335"/>
                </a:cubicBezTo>
                <a:cubicBezTo>
                  <a:pt x="11769372" y="761335"/>
                  <a:pt x="11772328" y="760180"/>
                  <a:pt x="11772328" y="756587"/>
                </a:cubicBezTo>
                <a:cubicBezTo>
                  <a:pt x="11772328" y="751452"/>
                  <a:pt x="11763599" y="748506"/>
                  <a:pt x="11754223" y="748506"/>
                </a:cubicBezTo>
                <a:close/>
                <a:moveTo>
                  <a:pt x="11614257" y="748117"/>
                </a:moveTo>
                <a:cubicBezTo>
                  <a:pt x="11607082" y="748117"/>
                  <a:pt x="11602594" y="749272"/>
                  <a:pt x="11599001" y="750167"/>
                </a:cubicBezTo>
                <a:cubicBezTo>
                  <a:pt x="11594383" y="751322"/>
                  <a:pt x="11592721" y="753491"/>
                  <a:pt x="11592721" y="755660"/>
                </a:cubicBezTo>
                <a:cubicBezTo>
                  <a:pt x="11592721" y="816902"/>
                  <a:pt x="11592721" y="816902"/>
                  <a:pt x="11592721" y="816902"/>
                </a:cubicBezTo>
                <a:cubicBezTo>
                  <a:pt x="11592721" y="818952"/>
                  <a:pt x="11593487" y="819071"/>
                  <a:pt x="11595418" y="819071"/>
                </a:cubicBezTo>
                <a:cubicBezTo>
                  <a:pt x="11602216" y="819071"/>
                  <a:pt x="11602216" y="819071"/>
                  <a:pt x="11602216" y="819071"/>
                </a:cubicBezTo>
                <a:cubicBezTo>
                  <a:pt x="11603878" y="819071"/>
                  <a:pt x="11604654" y="818942"/>
                  <a:pt x="11604654" y="816902"/>
                </a:cubicBezTo>
                <a:cubicBezTo>
                  <a:pt x="11604654" y="760774"/>
                  <a:pt x="11604654" y="760774"/>
                  <a:pt x="11604654" y="760774"/>
                </a:cubicBezTo>
                <a:cubicBezTo>
                  <a:pt x="11604654" y="757192"/>
                  <a:pt x="11607471" y="754764"/>
                  <a:pt x="11611452" y="754764"/>
                </a:cubicBezTo>
                <a:cubicBezTo>
                  <a:pt x="11620041" y="754764"/>
                  <a:pt x="11621325" y="761033"/>
                  <a:pt x="11625943" y="761033"/>
                </a:cubicBezTo>
                <a:cubicBezTo>
                  <a:pt x="11629255" y="761162"/>
                  <a:pt x="11631823" y="759112"/>
                  <a:pt x="11631823" y="755152"/>
                </a:cubicBezTo>
                <a:cubicBezTo>
                  <a:pt x="11631823" y="750167"/>
                  <a:pt x="11623623" y="748117"/>
                  <a:pt x="11614257" y="748117"/>
                </a:cubicBezTo>
                <a:close/>
                <a:moveTo>
                  <a:pt x="11553619" y="748117"/>
                </a:moveTo>
                <a:cubicBezTo>
                  <a:pt x="11547609" y="748117"/>
                  <a:pt x="11541221" y="749919"/>
                  <a:pt x="11536236" y="753124"/>
                </a:cubicBezTo>
                <a:cubicBezTo>
                  <a:pt x="11528565" y="758519"/>
                  <a:pt x="11523450" y="768780"/>
                  <a:pt x="11523450" y="784954"/>
                </a:cubicBezTo>
                <a:cubicBezTo>
                  <a:pt x="11523450" y="800998"/>
                  <a:pt x="11528565" y="811270"/>
                  <a:pt x="11536236" y="816654"/>
                </a:cubicBezTo>
                <a:cubicBezTo>
                  <a:pt x="11540962" y="819988"/>
                  <a:pt x="11547490" y="821531"/>
                  <a:pt x="11553619" y="821531"/>
                </a:cubicBezTo>
                <a:cubicBezTo>
                  <a:pt x="11559888" y="821531"/>
                  <a:pt x="11566275" y="819859"/>
                  <a:pt x="11571001" y="816654"/>
                </a:cubicBezTo>
                <a:cubicBezTo>
                  <a:pt x="11578802" y="811259"/>
                  <a:pt x="11583917" y="800998"/>
                  <a:pt x="11583917" y="784954"/>
                </a:cubicBezTo>
                <a:cubicBezTo>
                  <a:pt x="11583917" y="768780"/>
                  <a:pt x="11578802" y="758519"/>
                  <a:pt x="11571001" y="753124"/>
                </a:cubicBezTo>
                <a:cubicBezTo>
                  <a:pt x="11566146" y="749660"/>
                  <a:pt x="11559747" y="748117"/>
                  <a:pt x="11553619" y="748117"/>
                </a:cubicBezTo>
                <a:close/>
                <a:moveTo>
                  <a:pt x="11486031" y="748117"/>
                </a:moveTo>
                <a:cubicBezTo>
                  <a:pt x="11475824" y="748117"/>
                  <a:pt x="11468930" y="750297"/>
                  <a:pt x="11465229" y="751452"/>
                </a:cubicBezTo>
                <a:cubicBezTo>
                  <a:pt x="11460632" y="752994"/>
                  <a:pt x="11459230" y="754656"/>
                  <a:pt x="11459230" y="756965"/>
                </a:cubicBezTo>
                <a:cubicBezTo>
                  <a:pt x="11459230" y="817010"/>
                  <a:pt x="11459230" y="817010"/>
                  <a:pt x="11459230" y="817010"/>
                </a:cubicBezTo>
                <a:cubicBezTo>
                  <a:pt x="11459230" y="819190"/>
                  <a:pt x="11459737" y="819449"/>
                  <a:pt x="11461787" y="819449"/>
                </a:cubicBezTo>
                <a:cubicBezTo>
                  <a:pt x="11468422" y="819449"/>
                  <a:pt x="11468422" y="819449"/>
                  <a:pt x="11468422" y="819449"/>
                </a:cubicBezTo>
                <a:cubicBezTo>
                  <a:pt x="11470332" y="819449"/>
                  <a:pt x="11471228" y="819190"/>
                  <a:pt x="11471228" y="816751"/>
                </a:cubicBezTo>
                <a:cubicBezTo>
                  <a:pt x="11471228" y="761454"/>
                  <a:pt x="11471228" y="761454"/>
                  <a:pt x="11471228" y="761454"/>
                </a:cubicBezTo>
                <a:cubicBezTo>
                  <a:pt x="11471228" y="758497"/>
                  <a:pt x="11476331" y="755422"/>
                  <a:pt x="11485654" y="755422"/>
                </a:cubicBezTo>
                <a:cubicBezTo>
                  <a:pt x="11501223" y="755422"/>
                  <a:pt x="11501223" y="765554"/>
                  <a:pt x="11501223" y="771844"/>
                </a:cubicBezTo>
                <a:cubicBezTo>
                  <a:pt x="11501223" y="816751"/>
                  <a:pt x="11501223" y="816751"/>
                  <a:pt x="11501223" y="816751"/>
                </a:cubicBezTo>
                <a:cubicBezTo>
                  <a:pt x="11501223" y="819190"/>
                  <a:pt x="11501990" y="819449"/>
                  <a:pt x="11504288" y="819449"/>
                </a:cubicBezTo>
                <a:cubicBezTo>
                  <a:pt x="11511690" y="819449"/>
                  <a:pt x="11511690" y="819449"/>
                  <a:pt x="11511690" y="819449"/>
                </a:cubicBezTo>
                <a:cubicBezTo>
                  <a:pt x="11512963" y="819201"/>
                  <a:pt x="11512963" y="817917"/>
                  <a:pt x="11512963" y="816762"/>
                </a:cubicBezTo>
                <a:cubicBezTo>
                  <a:pt x="11512963" y="770312"/>
                  <a:pt x="11512963" y="770312"/>
                  <a:pt x="11512963" y="770312"/>
                </a:cubicBezTo>
                <a:cubicBezTo>
                  <a:pt x="11512963" y="762230"/>
                  <a:pt x="11512704" y="748117"/>
                  <a:pt x="11486031" y="748117"/>
                </a:cubicBezTo>
                <a:close/>
                <a:moveTo>
                  <a:pt x="11389700" y="748117"/>
                </a:moveTo>
                <a:cubicBezTo>
                  <a:pt x="11383539" y="748117"/>
                  <a:pt x="11377249" y="749919"/>
                  <a:pt x="11372242" y="753124"/>
                </a:cubicBezTo>
                <a:cubicBezTo>
                  <a:pt x="11364538" y="758519"/>
                  <a:pt x="11359402" y="768780"/>
                  <a:pt x="11359402" y="784954"/>
                </a:cubicBezTo>
                <a:cubicBezTo>
                  <a:pt x="11359402" y="800998"/>
                  <a:pt x="11364538" y="811270"/>
                  <a:pt x="11372242" y="816654"/>
                </a:cubicBezTo>
                <a:cubicBezTo>
                  <a:pt x="11376990" y="819988"/>
                  <a:pt x="11383539" y="821531"/>
                  <a:pt x="11389700" y="821531"/>
                </a:cubicBezTo>
                <a:cubicBezTo>
                  <a:pt x="11395990" y="821531"/>
                  <a:pt x="11402281" y="819859"/>
                  <a:pt x="11407158" y="816654"/>
                </a:cubicBezTo>
                <a:cubicBezTo>
                  <a:pt x="11414991" y="811259"/>
                  <a:pt x="11420127" y="800998"/>
                  <a:pt x="11420127" y="784954"/>
                </a:cubicBezTo>
                <a:cubicBezTo>
                  <a:pt x="11420127" y="768780"/>
                  <a:pt x="11414991" y="758519"/>
                  <a:pt x="11407158" y="753124"/>
                </a:cubicBezTo>
                <a:cubicBezTo>
                  <a:pt x="11402540" y="749660"/>
                  <a:pt x="11395990" y="748117"/>
                  <a:pt x="11389700" y="748117"/>
                </a:cubicBezTo>
                <a:close/>
                <a:moveTo>
                  <a:pt x="11267473" y="748117"/>
                </a:moveTo>
                <a:cubicBezTo>
                  <a:pt x="11261312" y="748117"/>
                  <a:pt x="11254892" y="749919"/>
                  <a:pt x="11250015" y="753124"/>
                </a:cubicBezTo>
                <a:cubicBezTo>
                  <a:pt x="11242182" y="758519"/>
                  <a:pt x="11237046" y="768780"/>
                  <a:pt x="11237046" y="784954"/>
                </a:cubicBezTo>
                <a:cubicBezTo>
                  <a:pt x="11237046" y="800998"/>
                  <a:pt x="11242182" y="811270"/>
                  <a:pt x="11250015" y="816654"/>
                </a:cubicBezTo>
                <a:cubicBezTo>
                  <a:pt x="11254763" y="819988"/>
                  <a:pt x="11261183" y="821531"/>
                  <a:pt x="11267473" y="821531"/>
                </a:cubicBezTo>
                <a:cubicBezTo>
                  <a:pt x="11273764" y="821531"/>
                  <a:pt x="11279925" y="819859"/>
                  <a:pt x="11284931" y="816654"/>
                </a:cubicBezTo>
                <a:cubicBezTo>
                  <a:pt x="11292635" y="811259"/>
                  <a:pt x="11297771" y="800998"/>
                  <a:pt x="11297771" y="784954"/>
                </a:cubicBezTo>
                <a:cubicBezTo>
                  <a:pt x="11297771" y="768780"/>
                  <a:pt x="11292635" y="758519"/>
                  <a:pt x="11284931" y="753124"/>
                </a:cubicBezTo>
                <a:cubicBezTo>
                  <a:pt x="11279925" y="749660"/>
                  <a:pt x="11273764" y="748117"/>
                  <a:pt x="11267473" y="748117"/>
                </a:cubicBezTo>
                <a:close/>
                <a:moveTo>
                  <a:pt x="11199756" y="748117"/>
                </a:moveTo>
                <a:cubicBezTo>
                  <a:pt x="11189495" y="748117"/>
                  <a:pt x="11182698" y="750297"/>
                  <a:pt x="11178857" y="751452"/>
                </a:cubicBezTo>
                <a:cubicBezTo>
                  <a:pt x="11174368" y="752994"/>
                  <a:pt x="11172825" y="754656"/>
                  <a:pt x="11172825" y="756965"/>
                </a:cubicBezTo>
                <a:cubicBezTo>
                  <a:pt x="11172825" y="817010"/>
                  <a:pt x="11172825" y="817010"/>
                  <a:pt x="11172825" y="817010"/>
                </a:cubicBezTo>
                <a:cubicBezTo>
                  <a:pt x="11172825" y="819190"/>
                  <a:pt x="11173343" y="819449"/>
                  <a:pt x="11175263" y="819449"/>
                </a:cubicBezTo>
                <a:cubicBezTo>
                  <a:pt x="11181932" y="819449"/>
                  <a:pt x="11181932" y="819449"/>
                  <a:pt x="11181932" y="819449"/>
                </a:cubicBezTo>
                <a:cubicBezTo>
                  <a:pt x="11183852" y="819449"/>
                  <a:pt x="11184748" y="819190"/>
                  <a:pt x="11184748" y="816751"/>
                </a:cubicBezTo>
                <a:cubicBezTo>
                  <a:pt x="11184748" y="761454"/>
                  <a:pt x="11184748" y="761454"/>
                  <a:pt x="11184748" y="761454"/>
                </a:cubicBezTo>
                <a:cubicBezTo>
                  <a:pt x="11184748" y="758497"/>
                  <a:pt x="11189873" y="755422"/>
                  <a:pt x="11199238" y="755422"/>
                </a:cubicBezTo>
                <a:cubicBezTo>
                  <a:pt x="11214884" y="755422"/>
                  <a:pt x="11214884" y="765554"/>
                  <a:pt x="11214884" y="771844"/>
                </a:cubicBezTo>
                <a:cubicBezTo>
                  <a:pt x="11214884" y="816751"/>
                  <a:pt x="11214884" y="816751"/>
                  <a:pt x="11214884" y="816751"/>
                </a:cubicBezTo>
                <a:cubicBezTo>
                  <a:pt x="11214884" y="819190"/>
                  <a:pt x="11215650" y="819449"/>
                  <a:pt x="11217959" y="819449"/>
                </a:cubicBezTo>
                <a:cubicBezTo>
                  <a:pt x="11225393" y="819449"/>
                  <a:pt x="11225393" y="819449"/>
                  <a:pt x="11225393" y="819449"/>
                </a:cubicBezTo>
                <a:cubicBezTo>
                  <a:pt x="11226688" y="819201"/>
                  <a:pt x="11226817" y="817917"/>
                  <a:pt x="11226817" y="816762"/>
                </a:cubicBezTo>
                <a:cubicBezTo>
                  <a:pt x="11226817" y="770312"/>
                  <a:pt x="11226817" y="770312"/>
                  <a:pt x="11226817" y="770312"/>
                </a:cubicBezTo>
                <a:cubicBezTo>
                  <a:pt x="11226817" y="762230"/>
                  <a:pt x="11226688" y="748117"/>
                  <a:pt x="11199756" y="748117"/>
                </a:cubicBezTo>
                <a:close/>
                <a:moveTo>
                  <a:pt x="11681273" y="724801"/>
                </a:moveTo>
                <a:cubicBezTo>
                  <a:pt x="11678975" y="724801"/>
                  <a:pt x="11678845" y="725567"/>
                  <a:pt x="11678845" y="727876"/>
                </a:cubicBezTo>
                <a:cubicBezTo>
                  <a:pt x="11678845" y="752250"/>
                  <a:pt x="11678845" y="752250"/>
                  <a:pt x="11678845" y="752250"/>
                </a:cubicBezTo>
                <a:cubicBezTo>
                  <a:pt x="11674626" y="750070"/>
                  <a:pt x="11670537" y="748527"/>
                  <a:pt x="11664279" y="748527"/>
                </a:cubicBezTo>
                <a:cubicBezTo>
                  <a:pt x="11643455" y="748527"/>
                  <a:pt x="11632848" y="768413"/>
                  <a:pt x="11632848" y="784954"/>
                </a:cubicBezTo>
                <a:cubicBezTo>
                  <a:pt x="11632848" y="809587"/>
                  <a:pt x="11646260" y="821510"/>
                  <a:pt x="11666707" y="821510"/>
                </a:cubicBezTo>
                <a:cubicBezTo>
                  <a:pt x="11676547" y="821531"/>
                  <a:pt x="11690477" y="816654"/>
                  <a:pt x="11690477" y="812036"/>
                </a:cubicBezTo>
                <a:cubicBezTo>
                  <a:pt x="11690477" y="727498"/>
                  <a:pt x="11690477" y="727498"/>
                  <a:pt x="11690477" y="727498"/>
                </a:cubicBezTo>
                <a:cubicBezTo>
                  <a:pt x="11690477" y="724930"/>
                  <a:pt x="11689711" y="724801"/>
                  <a:pt x="11687919" y="724801"/>
                </a:cubicBezTo>
                <a:cubicBezTo>
                  <a:pt x="11681273" y="724801"/>
                  <a:pt x="11681273" y="724801"/>
                  <a:pt x="11681273" y="724801"/>
                </a:cubicBezTo>
                <a:close/>
                <a:moveTo>
                  <a:pt x="11786797" y="724552"/>
                </a:moveTo>
                <a:cubicBezTo>
                  <a:pt x="11785384" y="724552"/>
                  <a:pt x="11784607" y="724811"/>
                  <a:pt x="11784607" y="726732"/>
                </a:cubicBezTo>
                <a:cubicBezTo>
                  <a:pt x="11784607" y="817280"/>
                  <a:pt x="11784607" y="817280"/>
                  <a:pt x="11784607" y="817280"/>
                </a:cubicBezTo>
                <a:cubicBezTo>
                  <a:pt x="11784607" y="819071"/>
                  <a:pt x="11784995" y="819330"/>
                  <a:pt x="11786797" y="819330"/>
                </a:cubicBezTo>
                <a:cubicBezTo>
                  <a:pt x="11793864" y="819330"/>
                  <a:pt x="11793864" y="819330"/>
                  <a:pt x="11793864" y="819330"/>
                </a:cubicBezTo>
                <a:cubicBezTo>
                  <a:pt x="11795526" y="819330"/>
                  <a:pt x="11796303" y="819330"/>
                  <a:pt x="11796303" y="817409"/>
                </a:cubicBezTo>
                <a:cubicBezTo>
                  <a:pt x="11796303" y="726473"/>
                  <a:pt x="11796303" y="726473"/>
                  <a:pt x="11796303" y="726473"/>
                </a:cubicBezTo>
                <a:cubicBezTo>
                  <a:pt x="11796303" y="724552"/>
                  <a:pt x="11795407" y="724552"/>
                  <a:pt x="11793864" y="724552"/>
                </a:cubicBezTo>
                <a:cubicBezTo>
                  <a:pt x="11786797" y="724552"/>
                  <a:pt x="11786797" y="724552"/>
                  <a:pt x="11786797" y="724552"/>
                </a:cubicBezTo>
                <a:close/>
                <a:moveTo>
                  <a:pt x="11712617" y="723776"/>
                </a:moveTo>
                <a:cubicBezTo>
                  <a:pt x="11708291" y="723776"/>
                  <a:pt x="11705237" y="726851"/>
                  <a:pt x="11705237" y="730940"/>
                </a:cubicBezTo>
                <a:cubicBezTo>
                  <a:pt x="11705237" y="734781"/>
                  <a:pt x="11707913" y="737975"/>
                  <a:pt x="11712358" y="737975"/>
                </a:cubicBezTo>
                <a:cubicBezTo>
                  <a:pt x="11716933" y="737845"/>
                  <a:pt x="11719739" y="734263"/>
                  <a:pt x="11719609" y="730433"/>
                </a:cubicBezTo>
                <a:cubicBezTo>
                  <a:pt x="11719350" y="726462"/>
                  <a:pt x="11716178" y="723776"/>
                  <a:pt x="11712617" y="723776"/>
                </a:cubicBezTo>
                <a:close/>
                <a:moveTo>
                  <a:pt x="11855021" y="713601"/>
                </a:moveTo>
                <a:lnTo>
                  <a:pt x="11855284" y="713794"/>
                </a:lnTo>
                <a:lnTo>
                  <a:pt x="11855021" y="713860"/>
                </a:lnTo>
                <a:cubicBezTo>
                  <a:pt x="11855021" y="713860"/>
                  <a:pt x="11855021" y="713860"/>
                  <a:pt x="11855021" y="713601"/>
                </a:cubicBezTo>
                <a:close/>
                <a:moveTo>
                  <a:pt x="11847209" y="704235"/>
                </a:moveTo>
                <a:cubicBezTo>
                  <a:pt x="11851428" y="704235"/>
                  <a:pt x="11851428" y="704235"/>
                  <a:pt x="11851428" y="704235"/>
                </a:cubicBezTo>
                <a:cubicBezTo>
                  <a:pt x="11853608" y="704235"/>
                  <a:pt x="11857190" y="704235"/>
                  <a:pt x="11857190" y="707699"/>
                </a:cubicBezTo>
                <a:cubicBezTo>
                  <a:pt x="11857190" y="711162"/>
                  <a:pt x="11853478" y="711162"/>
                  <a:pt x="11851817" y="711162"/>
                </a:cubicBezTo>
                <a:cubicBezTo>
                  <a:pt x="11847209" y="711162"/>
                  <a:pt x="11847209" y="711162"/>
                  <a:pt x="11847209" y="711162"/>
                </a:cubicBezTo>
                <a:close/>
                <a:moveTo>
                  <a:pt x="11843627" y="701020"/>
                </a:moveTo>
                <a:lnTo>
                  <a:pt x="11843627" y="724250"/>
                </a:lnTo>
                <a:cubicBezTo>
                  <a:pt x="11847468" y="724250"/>
                  <a:pt x="11847468" y="724250"/>
                  <a:pt x="11847468" y="724250"/>
                </a:cubicBezTo>
                <a:cubicBezTo>
                  <a:pt x="11847468" y="714367"/>
                  <a:pt x="11847468" y="714367"/>
                  <a:pt x="11847468" y="714367"/>
                </a:cubicBezTo>
                <a:cubicBezTo>
                  <a:pt x="11849648" y="714367"/>
                  <a:pt x="11849648" y="714367"/>
                  <a:pt x="11849648" y="714367"/>
                </a:cubicBezTo>
                <a:cubicBezTo>
                  <a:pt x="11852723" y="714367"/>
                  <a:pt x="11853867" y="715521"/>
                  <a:pt x="11856553" y="720528"/>
                </a:cubicBezTo>
                <a:cubicBezTo>
                  <a:pt x="11858603" y="724121"/>
                  <a:pt x="11858603" y="724121"/>
                  <a:pt x="11858603" y="724121"/>
                </a:cubicBezTo>
                <a:cubicBezTo>
                  <a:pt x="11863081" y="724121"/>
                  <a:pt x="11863081" y="724121"/>
                  <a:pt x="11863081" y="724121"/>
                </a:cubicBezTo>
                <a:cubicBezTo>
                  <a:pt x="11860265" y="719503"/>
                  <a:pt x="11860265" y="719503"/>
                  <a:pt x="11860265" y="719503"/>
                </a:cubicBezTo>
                <a:cubicBezTo>
                  <a:pt x="11858857" y="717258"/>
                  <a:pt x="11857864" y="715942"/>
                  <a:pt x="11857064" y="715107"/>
                </a:cubicBezTo>
                <a:lnTo>
                  <a:pt x="11855284" y="713794"/>
                </a:lnTo>
                <a:lnTo>
                  <a:pt x="11858039" y="713106"/>
                </a:lnTo>
                <a:cubicBezTo>
                  <a:pt x="11860542" y="711860"/>
                  <a:pt x="11861549" y="709333"/>
                  <a:pt x="11861549" y="707310"/>
                </a:cubicBezTo>
                <a:cubicBezTo>
                  <a:pt x="11861549" y="705390"/>
                  <a:pt x="11860653" y="703717"/>
                  <a:pt x="11859370" y="702822"/>
                </a:cubicBezTo>
                <a:cubicBezTo>
                  <a:pt x="11857449" y="701020"/>
                  <a:pt x="11854385" y="701020"/>
                  <a:pt x="11851817" y="701020"/>
                </a:cubicBezTo>
                <a:cubicBezTo>
                  <a:pt x="11843627" y="701020"/>
                  <a:pt x="11843627" y="701020"/>
                  <a:pt x="11843627" y="701020"/>
                </a:cubicBezTo>
                <a:close/>
                <a:moveTo>
                  <a:pt x="11852712" y="694611"/>
                </a:moveTo>
                <a:cubicBezTo>
                  <a:pt x="11862563" y="694611"/>
                  <a:pt x="11870623" y="702563"/>
                  <a:pt x="11870623" y="712446"/>
                </a:cubicBezTo>
                <a:cubicBezTo>
                  <a:pt x="11870623" y="722330"/>
                  <a:pt x="11862693" y="730541"/>
                  <a:pt x="11852712" y="730541"/>
                </a:cubicBezTo>
                <a:cubicBezTo>
                  <a:pt x="11842861" y="730541"/>
                  <a:pt x="11834931" y="722330"/>
                  <a:pt x="11834931" y="712446"/>
                </a:cubicBezTo>
                <a:cubicBezTo>
                  <a:pt x="11834801" y="702563"/>
                  <a:pt x="11842732" y="694611"/>
                  <a:pt x="11852712" y="694611"/>
                </a:cubicBezTo>
                <a:close/>
                <a:moveTo>
                  <a:pt x="11852712" y="690888"/>
                </a:moveTo>
                <a:cubicBezTo>
                  <a:pt x="11840940" y="690888"/>
                  <a:pt x="11831348" y="700513"/>
                  <a:pt x="11831348" y="712446"/>
                </a:cubicBezTo>
                <a:cubicBezTo>
                  <a:pt x="11831348" y="724509"/>
                  <a:pt x="11840940" y="734004"/>
                  <a:pt x="11852712" y="734004"/>
                </a:cubicBezTo>
                <a:cubicBezTo>
                  <a:pt x="11864613" y="734004"/>
                  <a:pt x="11874076" y="724250"/>
                  <a:pt x="11874076" y="712446"/>
                </a:cubicBezTo>
                <a:cubicBezTo>
                  <a:pt x="11874076" y="700642"/>
                  <a:pt x="11864484" y="690888"/>
                  <a:pt x="11852712" y="690888"/>
                </a:cubicBezTo>
                <a:close/>
                <a:moveTo>
                  <a:pt x="11639380" y="551044"/>
                </a:moveTo>
                <a:cubicBezTo>
                  <a:pt x="11639972" y="550996"/>
                  <a:pt x="11640676" y="551284"/>
                  <a:pt x="11641189" y="551862"/>
                </a:cubicBezTo>
                <a:cubicBezTo>
                  <a:pt x="11649011" y="560062"/>
                  <a:pt x="11646325" y="621974"/>
                  <a:pt x="11644652" y="634274"/>
                </a:cubicBezTo>
                <a:cubicBezTo>
                  <a:pt x="11644264" y="637349"/>
                  <a:pt x="11641448" y="639788"/>
                  <a:pt x="11640682" y="633508"/>
                </a:cubicBezTo>
                <a:cubicBezTo>
                  <a:pt x="11639786" y="625567"/>
                  <a:pt x="11635557" y="607235"/>
                  <a:pt x="11634273" y="599671"/>
                </a:cubicBezTo>
                <a:cubicBezTo>
                  <a:pt x="11632859" y="592496"/>
                  <a:pt x="11636841" y="570582"/>
                  <a:pt x="11638243" y="552250"/>
                </a:cubicBezTo>
                <a:cubicBezTo>
                  <a:pt x="11638308" y="551479"/>
                  <a:pt x="11638788" y="551093"/>
                  <a:pt x="11639380" y="551044"/>
                </a:cubicBezTo>
                <a:close/>
                <a:moveTo>
                  <a:pt x="11490639" y="502002"/>
                </a:moveTo>
                <a:cubicBezTo>
                  <a:pt x="11510395" y="504700"/>
                  <a:pt x="11530399" y="505207"/>
                  <a:pt x="11550015" y="504052"/>
                </a:cubicBezTo>
                <a:cubicBezTo>
                  <a:pt x="11553220" y="516223"/>
                  <a:pt x="11552831" y="532116"/>
                  <a:pt x="11548343" y="536605"/>
                </a:cubicBezTo>
                <a:cubicBezTo>
                  <a:pt x="11541157" y="543910"/>
                  <a:pt x="11508722" y="542496"/>
                  <a:pt x="11499486" y="541094"/>
                </a:cubicBezTo>
                <a:cubicBezTo>
                  <a:pt x="11496918" y="540705"/>
                  <a:pt x="11494361" y="540327"/>
                  <a:pt x="11492948" y="533659"/>
                </a:cubicBezTo>
                <a:cubicBezTo>
                  <a:pt x="11491405" y="525837"/>
                  <a:pt x="11491275" y="511486"/>
                  <a:pt x="11490639" y="502002"/>
                </a:cubicBezTo>
                <a:close/>
                <a:moveTo>
                  <a:pt x="11594253" y="498797"/>
                </a:moveTo>
                <a:cubicBezTo>
                  <a:pt x="11599767" y="509048"/>
                  <a:pt x="11600155" y="514950"/>
                  <a:pt x="11598612" y="520075"/>
                </a:cubicBezTo>
                <a:cubicBezTo>
                  <a:pt x="11597069" y="525200"/>
                  <a:pt x="11589894" y="528146"/>
                  <a:pt x="11588351" y="527509"/>
                </a:cubicBezTo>
                <a:cubicBezTo>
                  <a:pt x="11588092" y="516482"/>
                  <a:pt x="11585147" y="508152"/>
                  <a:pt x="11580011" y="500718"/>
                </a:cubicBezTo>
                <a:cubicBezTo>
                  <a:pt x="11584510" y="499952"/>
                  <a:pt x="11589257" y="499315"/>
                  <a:pt x="11594253" y="498797"/>
                </a:cubicBezTo>
                <a:close/>
                <a:moveTo>
                  <a:pt x="11441405" y="491374"/>
                </a:moveTo>
                <a:cubicBezTo>
                  <a:pt x="11447684" y="493295"/>
                  <a:pt x="11454104" y="494967"/>
                  <a:pt x="11460384" y="496499"/>
                </a:cubicBezTo>
                <a:cubicBezTo>
                  <a:pt x="11456025" y="524056"/>
                  <a:pt x="11447436" y="531868"/>
                  <a:pt x="11442948" y="533670"/>
                </a:cubicBezTo>
                <a:cubicBezTo>
                  <a:pt x="11439473" y="535073"/>
                  <a:pt x="11431910" y="535839"/>
                  <a:pt x="11434607" y="527131"/>
                </a:cubicBezTo>
                <a:cubicBezTo>
                  <a:pt x="11437305" y="518413"/>
                  <a:pt x="11439862" y="503545"/>
                  <a:pt x="11441405" y="491374"/>
                </a:cubicBezTo>
                <a:close/>
                <a:moveTo>
                  <a:pt x="11419441" y="484343"/>
                </a:moveTo>
                <a:cubicBezTo>
                  <a:pt x="11421606" y="484488"/>
                  <a:pt x="11425004" y="485801"/>
                  <a:pt x="11431543" y="488299"/>
                </a:cubicBezTo>
                <a:cubicBezTo>
                  <a:pt x="11430647" y="509447"/>
                  <a:pt x="11425263" y="521499"/>
                  <a:pt x="11423202" y="532257"/>
                </a:cubicBezTo>
                <a:cubicBezTo>
                  <a:pt x="11420893" y="543284"/>
                  <a:pt x="11433204" y="545841"/>
                  <a:pt x="11444102" y="543154"/>
                </a:cubicBezTo>
                <a:cubicBezTo>
                  <a:pt x="11454870" y="540468"/>
                  <a:pt x="11465132" y="529181"/>
                  <a:pt x="11469620" y="498549"/>
                </a:cubicBezTo>
                <a:cubicBezTo>
                  <a:pt x="11473850" y="499574"/>
                  <a:pt x="11477313" y="500092"/>
                  <a:pt x="11481672" y="500729"/>
                </a:cubicBezTo>
                <a:cubicBezTo>
                  <a:pt x="11482190" y="532516"/>
                  <a:pt x="11484111" y="539691"/>
                  <a:pt x="11485395" y="542507"/>
                </a:cubicBezTo>
                <a:cubicBezTo>
                  <a:pt x="11487833" y="548398"/>
                  <a:pt x="11493735" y="550330"/>
                  <a:pt x="11498472" y="550707"/>
                </a:cubicBezTo>
                <a:cubicBezTo>
                  <a:pt x="11523353" y="552628"/>
                  <a:pt x="11547458" y="551862"/>
                  <a:pt x="11555917" y="543532"/>
                </a:cubicBezTo>
                <a:cubicBezTo>
                  <a:pt x="11564506" y="535073"/>
                  <a:pt x="11561560" y="514443"/>
                  <a:pt x="11559122" y="503286"/>
                </a:cubicBezTo>
                <a:cubicBezTo>
                  <a:pt x="11563092" y="502898"/>
                  <a:pt x="11566308" y="502520"/>
                  <a:pt x="11570149" y="502002"/>
                </a:cubicBezTo>
                <a:cubicBezTo>
                  <a:pt x="11578360" y="511486"/>
                  <a:pt x="11579385" y="521866"/>
                  <a:pt x="11579385" y="528405"/>
                </a:cubicBezTo>
                <a:cubicBezTo>
                  <a:pt x="11579385" y="535709"/>
                  <a:pt x="11587466" y="539551"/>
                  <a:pt x="11598752" y="531739"/>
                </a:cubicBezTo>
                <a:cubicBezTo>
                  <a:pt x="11609909" y="523916"/>
                  <a:pt x="11608884" y="510202"/>
                  <a:pt x="11602723" y="497772"/>
                </a:cubicBezTo>
                <a:cubicBezTo>
                  <a:pt x="11628371" y="495722"/>
                  <a:pt x="11627086" y="512511"/>
                  <a:pt x="11625673" y="533282"/>
                </a:cubicBezTo>
                <a:cubicBezTo>
                  <a:pt x="11624389" y="553793"/>
                  <a:pt x="11619771" y="582882"/>
                  <a:pt x="11612855" y="586216"/>
                </a:cubicBezTo>
                <a:cubicBezTo>
                  <a:pt x="11605798" y="589162"/>
                  <a:pt x="11594771" y="570323"/>
                  <a:pt x="11537326" y="569427"/>
                </a:cubicBezTo>
                <a:cubicBezTo>
                  <a:pt x="11496551" y="568661"/>
                  <a:pt x="11465261" y="574175"/>
                  <a:pt x="11459488" y="611465"/>
                </a:cubicBezTo>
                <a:cubicBezTo>
                  <a:pt x="11459100" y="614151"/>
                  <a:pt x="11457568" y="613774"/>
                  <a:pt x="11456154" y="612360"/>
                </a:cubicBezTo>
                <a:cubicBezTo>
                  <a:pt x="11444998" y="600189"/>
                  <a:pt x="11434737" y="594676"/>
                  <a:pt x="11418325" y="585191"/>
                </a:cubicBezTo>
                <a:cubicBezTo>
                  <a:pt x="11401785" y="575448"/>
                  <a:pt x="11390757" y="562382"/>
                  <a:pt x="11388707" y="549434"/>
                </a:cubicBezTo>
                <a:cubicBezTo>
                  <a:pt x="11386657" y="536486"/>
                  <a:pt x="11391405" y="519190"/>
                  <a:pt x="11414743" y="487403"/>
                </a:cubicBezTo>
                <a:cubicBezTo>
                  <a:pt x="11416346" y="485224"/>
                  <a:pt x="11417276" y="484199"/>
                  <a:pt x="11419441" y="484343"/>
                </a:cubicBezTo>
                <a:close/>
                <a:moveTo>
                  <a:pt x="11358173" y="469801"/>
                </a:moveTo>
                <a:cubicBezTo>
                  <a:pt x="11352402" y="469752"/>
                  <a:pt x="11342133" y="472433"/>
                  <a:pt x="11346260" y="478275"/>
                </a:cubicBezTo>
                <a:cubicBezTo>
                  <a:pt x="11351763" y="486314"/>
                  <a:pt x="11362639" y="473042"/>
                  <a:pt x="11361744" y="470744"/>
                </a:cubicBezTo>
                <a:cubicBezTo>
                  <a:pt x="11361520" y="470137"/>
                  <a:pt x="11360096" y="469817"/>
                  <a:pt x="11358173" y="469801"/>
                </a:cubicBezTo>
                <a:close/>
                <a:moveTo>
                  <a:pt x="11354455" y="453696"/>
                </a:moveTo>
                <a:cubicBezTo>
                  <a:pt x="11359222" y="452705"/>
                  <a:pt x="11365520" y="456094"/>
                  <a:pt x="11379471" y="464454"/>
                </a:cubicBezTo>
                <a:cubicBezTo>
                  <a:pt x="11402044" y="478167"/>
                  <a:pt x="11408971" y="475351"/>
                  <a:pt x="11401267" y="487522"/>
                </a:cubicBezTo>
                <a:cubicBezTo>
                  <a:pt x="11396519" y="495345"/>
                  <a:pt x="11380486" y="516104"/>
                  <a:pt x="11376515" y="541611"/>
                </a:cubicBezTo>
                <a:cubicBezTo>
                  <a:pt x="11371131" y="534436"/>
                  <a:pt x="11363815" y="516622"/>
                  <a:pt x="11357665" y="511745"/>
                </a:cubicBezTo>
                <a:cubicBezTo>
                  <a:pt x="11345613" y="502261"/>
                  <a:pt x="11335222" y="509566"/>
                  <a:pt x="11330734" y="504052"/>
                </a:cubicBezTo>
                <a:cubicBezTo>
                  <a:pt x="11325727" y="498031"/>
                  <a:pt x="11323677" y="497643"/>
                  <a:pt x="11328166" y="491881"/>
                </a:cubicBezTo>
                <a:cubicBezTo>
                  <a:pt x="11328166" y="491881"/>
                  <a:pt x="11333550" y="484835"/>
                  <a:pt x="11335600" y="481879"/>
                </a:cubicBezTo>
                <a:cubicBezTo>
                  <a:pt x="11337909" y="478804"/>
                  <a:pt x="11337272" y="473031"/>
                  <a:pt x="11338297" y="470604"/>
                </a:cubicBezTo>
                <a:cubicBezTo>
                  <a:pt x="11339193" y="468165"/>
                  <a:pt x="11344707" y="460861"/>
                  <a:pt x="11349972" y="456124"/>
                </a:cubicBezTo>
                <a:cubicBezTo>
                  <a:pt x="11351448" y="454843"/>
                  <a:pt x="11352866" y="454026"/>
                  <a:pt x="11354455" y="453696"/>
                </a:cubicBezTo>
                <a:close/>
                <a:moveTo>
                  <a:pt x="11324025" y="392924"/>
                </a:moveTo>
                <a:cubicBezTo>
                  <a:pt x="11322935" y="393149"/>
                  <a:pt x="11322134" y="395329"/>
                  <a:pt x="11322134" y="400006"/>
                </a:cubicBezTo>
                <a:cubicBezTo>
                  <a:pt x="11322134" y="423463"/>
                  <a:pt x="11332395" y="437555"/>
                  <a:pt x="11335988" y="441536"/>
                </a:cubicBezTo>
                <a:cubicBezTo>
                  <a:pt x="11339452" y="445507"/>
                  <a:pt x="11341114" y="449477"/>
                  <a:pt x="11339193" y="451786"/>
                </a:cubicBezTo>
                <a:cubicBezTo>
                  <a:pt x="11334068" y="457807"/>
                  <a:pt x="11328554" y="464475"/>
                  <a:pt x="11328425" y="467162"/>
                </a:cubicBezTo>
                <a:cubicBezTo>
                  <a:pt x="11328166" y="470107"/>
                  <a:pt x="11328425" y="471521"/>
                  <a:pt x="11327270" y="474855"/>
                </a:cubicBezTo>
                <a:cubicBezTo>
                  <a:pt x="11326116" y="478059"/>
                  <a:pt x="11322016" y="482796"/>
                  <a:pt x="11315477" y="490748"/>
                </a:cubicBezTo>
                <a:cubicBezTo>
                  <a:pt x="11311884" y="495366"/>
                  <a:pt x="11314193" y="500362"/>
                  <a:pt x="11317268" y="503696"/>
                </a:cubicBezTo>
                <a:cubicBezTo>
                  <a:pt x="11320861" y="507796"/>
                  <a:pt x="11323300" y="512544"/>
                  <a:pt x="11327788" y="514594"/>
                </a:cubicBezTo>
                <a:cubicBezTo>
                  <a:pt x="11332406" y="516644"/>
                  <a:pt x="11336506" y="515230"/>
                  <a:pt x="11341890" y="516137"/>
                </a:cubicBezTo>
                <a:cubicBezTo>
                  <a:pt x="11347016" y="517032"/>
                  <a:pt x="11353436" y="520107"/>
                  <a:pt x="11358561" y="529214"/>
                </a:cubicBezTo>
                <a:cubicBezTo>
                  <a:pt x="11365995" y="542539"/>
                  <a:pt x="11373947" y="563310"/>
                  <a:pt x="11388308" y="580476"/>
                </a:cubicBezTo>
                <a:cubicBezTo>
                  <a:pt x="11394717" y="588040"/>
                  <a:pt x="11394717" y="602013"/>
                  <a:pt x="11394717" y="606490"/>
                </a:cubicBezTo>
                <a:cubicBezTo>
                  <a:pt x="11395106" y="646736"/>
                  <a:pt x="11374076" y="684803"/>
                  <a:pt x="11360611" y="709026"/>
                </a:cubicBezTo>
                <a:cubicBezTo>
                  <a:pt x="11357406" y="714669"/>
                  <a:pt x="11358172" y="719406"/>
                  <a:pt x="11362402" y="719406"/>
                </a:cubicBezTo>
                <a:cubicBezTo>
                  <a:pt x="11367279" y="719406"/>
                  <a:pt x="11385481" y="719406"/>
                  <a:pt x="11388567" y="719406"/>
                </a:cubicBezTo>
                <a:cubicBezTo>
                  <a:pt x="11391901" y="719406"/>
                  <a:pt x="11393951" y="715813"/>
                  <a:pt x="11394210" y="711972"/>
                </a:cubicBezTo>
                <a:cubicBezTo>
                  <a:pt x="11396519" y="679030"/>
                  <a:pt x="11415110" y="618661"/>
                  <a:pt x="11429094" y="608411"/>
                </a:cubicBezTo>
                <a:cubicBezTo>
                  <a:pt x="11452561" y="623150"/>
                  <a:pt x="11475900" y="654678"/>
                  <a:pt x="11464484" y="709921"/>
                </a:cubicBezTo>
                <a:cubicBezTo>
                  <a:pt x="11463966" y="712997"/>
                  <a:pt x="11461150" y="719665"/>
                  <a:pt x="11468207" y="719665"/>
                </a:cubicBezTo>
                <a:cubicBezTo>
                  <a:pt x="11468207" y="719665"/>
                  <a:pt x="11488082" y="719665"/>
                  <a:pt x="11490650" y="719665"/>
                </a:cubicBezTo>
                <a:cubicBezTo>
                  <a:pt x="11493595" y="719665"/>
                  <a:pt x="11498343" y="718510"/>
                  <a:pt x="11497954" y="713126"/>
                </a:cubicBezTo>
                <a:cubicBezTo>
                  <a:pt x="11496800" y="691590"/>
                  <a:pt x="11478716" y="646100"/>
                  <a:pt x="11473979" y="619309"/>
                </a:cubicBezTo>
                <a:cubicBezTo>
                  <a:pt x="11471034" y="602390"/>
                  <a:pt x="11484499" y="572147"/>
                  <a:pt x="11535276" y="595345"/>
                </a:cubicBezTo>
                <a:cubicBezTo>
                  <a:pt x="11554773" y="577790"/>
                  <a:pt x="11580421" y="588428"/>
                  <a:pt x="11569383" y="622136"/>
                </a:cubicBezTo>
                <a:cubicBezTo>
                  <a:pt x="11558614" y="655714"/>
                  <a:pt x="11549249" y="670452"/>
                  <a:pt x="11512315" y="709932"/>
                </a:cubicBezTo>
                <a:cubicBezTo>
                  <a:pt x="11508215" y="714550"/>
                  <a:pt x="11507827" y="719417"/>
                  <a:pt x="11514624" y="719417"/>
                </a:cubicBezTo>
                <a:cubicBezTo>
                  <a:pt x="11517958" y="719417"/>
                  <a:pt x="11534888" y="719417"/>
                  <a:pt x="11538351" y="719417"/>
                </a:cubicBezTo>
                <a:cubicBezTo>
                  <a:pt x="11543476" y="719417"/>
                  <a:pt x="11545537" y="717874"/>
                  <a:pt x="11547069" y="713903"/>
                </a:cubicBezTo>
                <a:cubicBezTo>
                  <a:pt x="11548483" y="709673"/>
                  <a:pt x="11565412" y="656102"/>
                  <a:pt x="11598623" y="630983"/>
                </a:cubicBezTo>
                <a:cubicBezTo>
                  <a:pt x="11601191" y="629063"/>
                  <a:pt x="11603371" y="620474"/>
                  <a:pt x="11608496" y="600869"/>
                </a:cubicBezTo>
                <a:cubicBezTo>
                  <a:pt x="11624529" y="622017"/>
                  <a:pt x="11626709" y="660461"/>
                  <a:pt x="11599130" y="710062"/>
                </a:cubicBezTo>
                <a:cubicBezTo>
                  <a:pt x="11596314" y="715316"/>
                  <a:pt x="11597976" y="719287"/>
                  <a:pt x="11601439" y="719287"/>
                </a:cubicBezTo>
                <a:cubicBezTo>
                  <a:pt x="11603360" y="719287"/>
                  <a:pt x="11618368" y="719287"/>
                  <a:pt x="11622857" y="719287"/>
                </a:cubicBezTo>
                <a:cubicBezTo>
                  <a:pt x="11626828" y="719287"/>
                  <a:pt x="11627982" y="717107"/>
                  <a:pt x="11629525" y="711087"/>
                </a:cubicBezTo>
                <a:cubicBezTo>
                  <a:pt x="11631446" y="703653"/>
                  <a:pt x="11632093" y="700060"/>
                  <a:pt x="11634650" y="693014"/>
                </a:cubicBezTo>
                <a:cubicBezTo>
                  <a:pt x="11636193" y="688655"/>
                  <a:pt x="11636830" y="687889"/>
                  <a:pt x="11654018" y="688018"/>
                </a:cubicBezTo>
                <a:cubicBezTo>
                  <a:pt x="11659402" y="688018"/>
                  <a:pt x="11659024" y="685202"/>
                  <a:pt x="11659024" y="680584"/>
                </a:cubicBezTo>
                <a:cubicBezTo>
                  <a:pt x="11659272" y="614151"/>
                  <a:pt x="11659661" y="544687"/>
                  <a:pt x="11654654" y="520852"/>
                </a:cubicBezTo>
                <a:cubicBezTo>
                  <a:pt x="11647727" y="487403"/>
                  <a:pt x="11618617" y="486378"/>
                  <a:pt x="11603360" y="487533"/>
                </a:cubicBezTo>
                <a:cubicBezTo>
                  <a:pt x="11587456" y="488688"/>
                  <a:pt x="11557449" y="493424"/>
                  <a:pt x="11526547" y="493424"/>
                </a:cubicBezTo>
                <a:cubicBezTo>
                  <a:pt x="11484866" y="493424"/>
                  <a:pt x="11437930" y="481631"/>
                  <a:pt x="11402033" y="464842"/>
                </a:cubicBezTo>
                <a:cubicBezTo>
                  <a:pt x="11395753" y="462026"/>
                  <a:pt x="11398958" y="460742"/>
                  <a:pt x="11401644" y="459199"/>
                </a:cubicBezTo>
                <a:cubicBezTo>
                  <a:pt x="11415110" y="451765"/>
                  <a:pt x="11426774" y="445097"/>
                  <a:pt x="11433960" y="433314"/>
                </a:cubicBezTo>
                <a:cubicBezTo>
                  <a:pt x="11439473" y="424348"/>
                  <a:pt x="11437423" y="421521"/>
                  <a:pt x="11431392" y="426398"/>
                </a:cubicBezTo>
                <a:cubicBezTo>
                  <a:pt x="11415110" y="439982"/>
                  <a:pt x="11391890" y="447546"/>
                  <a:pt x="11365995" y="438191"/>
                </a:cubicBezTo>
                <a:cubicBezTo>
                  <a:pt x="11339959" y="428966"/>
                  <a:pt x="11329957" y="403847"/>
                  <a:pt x="11327648" y="397568"/>
                </a:cubicBezTo>
                <a:cubicBezTo>
                  <a:pt x="11326493" y="394428"/>
                  <a:pt x="11325115" y="392699"/>
                  <a:pt x="11324025" y="392924"/>
                </a:cubicBezTo>
                <a:close/>
                <a:moveTo>
                  <a:pt x="11391491" y="334037"/>
                </a:moveTo>
                <a:cubicBezTo>
                  <a:pt x="11410848" y="334037"/>
                  <a:pt x="11426364" y="349790"/>
                  <a:pt x="11426364" y="368996"/>
                </a:cubicBezTo>
                <a:cubicBezTo>
                  <a:pt x="11426364" y="388332"/>
                  <a:pt x="11410848" y="403955"/>
                  <a:pt x="11391491" y="403955"/>
                </a:cubicBezTo>
                <a:cubicBezTo>
                  <a:pt x="11372134" y="403955"/>
                  <a:pt x="11356360" y="388332"/>
                  <a:pt x="11356360" y="368996"/>
                </a:cubicBezTo>
                <a:cubicBezTo>
                  <a:pt x="11356360" y="349542"/>
                  <a:pt x="11372134" y="334037"/>
                  <a:pt x="11391491" y="334037"/>
                </a:cubicBezTo>
                <a:close/>
                <a:moveTo>
                  <a:pt x="11389959" y="321618"/>
                </a:moveTo>
                <a:cubicBezTo>
                  <a:pt x="11360729" y="321618"/>
                  <a:pt x="11337262" y="345442"/>
                  <a:pt x="11337262" y="374510"/>
                </a:cubicBezTo>
                <a:cubicBezTo>
                  <a:pt x="11337262" y="403836"/>
                  <a:pt x="11360978" y="427401"/>
                  <a:pt x="11389959" y="427401"/>
                </a:cubicBezTo>
                <a:cubicBezTo>
                  <a:pt x="11419189" y="427401"/>
                  <a:pt x="11442656" y="403577"/>
                  <a:pt x="11442656" y="374510"/>
                </a:cubicBezTo>
                <a:cubicBezTo>
                  <a:pt x="11442656" y="345183"/>
                  <a:pt x="11419189" y="321618"/>
                  <a:pt x="11389959" y="321618"/>
                </a:cubicBez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close/>
              </a:path>
            </a:pathLst>
          </a:custGeom>
          <a:solidFill>
            <a:srgbClr val="D4D7DC"/>
          </a:solidFill>
        </p:spPr>
        <p:txBody>
          <a:bodyPr wrap="square" tIns="7200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C3EE7D-BC64-44D4-965B-AAAA5C4BD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2000" y="648000"/>
            <a:ext cx="8067600" cy="5562000"/>
          </a:xfrm>
        </p:spPr>
        <p:txBody>
          <a:bodyPr anchor="ctr"/>
          <a:lstStyle>
            <a:lvl1pPr>
              <a:lnSpc>
                <a:spcPct val="120000"/>
              </a:lnSpc>
              <a:defRPr sz="9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2E69A22-4168-4C89-915E-68554934A99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000" y="3429000"/>
            <a:ext cx="1920000" cy="2781000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2E73A1B-874D-4A61-944C-6104EF22B9D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194743-088D-4DFF-8645-01481AFFE59D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123DF4B-C0EB-448C-B355-2743629DD45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92667E6-AA52-4ED3-B122-113FB4F8CA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44E7C209-74AB-4928-B52F-1ED3C6CFC5A2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1545438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. Editor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9D42066-5D13-4CA9-8F2A-410D70A7E3A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custGeom>
            <a:avLst/>
            <a:gdLst>
              <a:gd name="connsiteX0" fmla="*/ 11666200 w 12193200"/>
              <a:gd name="connsiteY0" fmla="*/ 756760 h 6861600"/>
              <a:gd name="connsiteX1" fmla="*/ 11678975 w 12193200"/>
              <a:gd name="connsiteY1" fmla="*/ 761119 h 6861600"/>
              <a:gd name="connsiteX2" fmla="*/ 11678975 w 12193200"/>
              <a:gd name="connsiteY2" fmla="*/ 808195 h 6861600"/>
              <a:gd name="connsiteX3" fmla="*/ 11678845 w 12193200"/>
              <a:gd name="connsiteY3" fmla="*/ 808195 h 6861600"/>
              <a:gd name="connsiteX4" fmla="*/ 11667095 w 12193200"/>
              <a:gd name="connsiteY4" fmla="*/ 813579 h 6861600"/>
              <a:gd name="connsiteX5" fmla="*/ 11644998 w 12193200"/>
              <a:gd name="connsiteY5" fmla="*/ 784080 h 6861600"/>
              <a:gd name="connsiteX6" fmla="*/ 11666200 w 12193200"/>
              <a:gd name="connsiteY6" fmla="*/ 756760 h 6861600"/>
              <a:gd name="connsiteX7" fmla="*/ 11553608 w 12193200"/>
              <a:gd name="connsiteY7" fmla="*/ 755951 h 6861600"/>
              <a:gd name="connsiteX8" fmla="*/ 11565369 w 12193200"/>
              <a:gd name="connsiteY8" fmla="*/ 760439 h 6861600"/>
              <a:gd name="connsiteX9" fmla="*/ 11571638 w 12193200"/>
              <a:gd name="connsiteY9" fmla="*/ 784954 h 6861600"/>
              <a:gd name="connsiteX10" fmla="*/ 11565369 w 12193200"/>
              <a:gd name="connsiteY10" fmla="*/ 809339 h 6861600"/>
              <a:gd name="connsiteX11" fmla="*/ 11553608 w 12193200"/>
              <a:gd name="connsiteY11" fmla="*/ 813698 h 6861600"/>
              <a:gd name="connsiteX12" fmla="*/ 11542106 w 12193200"/>
              <a:gd name="connsiteY12" fmla="*/ 809339 h 6861600"/>
              <a:gd name="connsiteX13" fmla="*/ 11535837 w 12193200"/>
              <a:gd name="connsiteY13" fmla="*/ 784954 h 6861600"/>
              <a:gd name="connsiteX14" fmla="*/ 11542106 w 12193200"/>
              <a:gd name="connsiteY14" fmla="*/ 760439 h 6861600"/>
              <a:gd name="connsiteX15" fmla="*/ 11553608 w 12193200"/>
              <a:gd name="connsiteY15" fmla="*/ 755951 h 6861600"/>
              <a:gd name="connsiteX16" fmla="*/ 11389948 w 12193200"/>
              <a:gd name="connsiteY16" fmla="*/ 755951 h 6861600"/>
              <a:gd name="connsiteX17" fmla="*/ 11401504 w 12193200"/>
              <a:gd name="connsiteY17" fmla="*/ 760439 h 6861600"/>
              <a:gd name="connsiteX18" fmla="*/ 11407795 w 12193200"/>
              <a:gd name="connsiteY18" fmla="*/ 784954 h 6861600"/>
              <a:gd name="connsiteX19" fmla="*/ 11401504 w 12193200"/>
              <a:gd name="connsiteY19" fmla="*/ 809339 h 6861600"/>
              <a:gd name="connsiteX20" fmla="*/ 11389948 w 12193200"/>
              <a:gd name="connsiteY20" fmla="*/ 813698 h 6861600"/>
              <a:gd name="connsiteX21" fmla="*/ 11378133 w 12193200"/>
              <a:gd name="connsiteY21" fmla="*/ 809339 h 6861600"/>
              <a:gd name="connsiteX22" fmla="*/ 11371843 w 12193200"/>
              <a:gd name="connsiteY22" fmla="*/ 784954 h 6861600"/>
              <a:gd name="connsiteX23" fmla="*/ 11378133 w 12193200"/>
              <a:gd name="connsiteY23" fmla="*/ 760439 h 6861600"/>
              <a:gd name="connsiteX24" fmla="*/ 11389948 w 12193200"/>
              <a:gd name="connsiteY24" fmla="*/ 755951 h 6861600"/>
              <a:gd name="connsiteX25" fmla="*/ 11267462 w 12193200"/>
              <a:gd name="connsiteY25" fmla="*/ 755951 h 6861600"/>
              <a:gd name="connsiteX26" fmla="*/ 11279148 w 12193200"/>
              <a:gd name="connsiteY26" fmla="*/ 760439 h 6861600"/>
              <a:gd name="connsiteX27" fmla="*/ 11285438 w 12193200"/>
              <a:gd name="connsiteY27" fmla="*/ 784954 h 6861600"/>
              <a:gd name="connsiteX28" fmla="*/ 11279148 w 12193200"/>
              <a:gd name="connsiteY28" fmla="*/ 809339 h 6861600"/>
              <a:gd name="connsiteX29" fmla="*/ 11267462 w 12193200"/>
              <a:gd name="connsiteY29" fmla="*/ 813698 h 6861600"/>
              <a:gd name="connsiteX30" fmla="*/ 11255907 w 12193200"/>
              <a:gd name="connsiteY30" fmla="*/ 809339 h 6861600"/>
              <a:gd name="connsiteX31" fmla="*/ 11249616 w 12193200"/>
              <a:gd name="connsiteY31" fmla="*/ 784954 h 6861600"/>
              <a:gd name="connsiteX32" fmla="*/ 11255907 w 12193200"/>
              <a:gd name="connsiteY32" fmla="*/ 760439 h 6861600"/>
              <a:gd name="connsiteX33" fmla="*/ 11267462 w 12193200"/>
              <a:gd name="connsiteY33" fmla="*/ 755951 h 6861600"/>
              <a:gd name="connsiteX34" fmla="*/ 11708668 w 12193200"/>
              <a:gd name="connsiteY34" fmla="*/ 750006 h 6861600"/>
              <a:gd name="connsiteX35" fmla="*/ 11706381 w 12193200"/>
              <a:gd name="connsiteY35" fmla="*/ 752433 h 6861600"/>
              <a:gd name="connsiteX36" fmla="*/ 11706381 w 12193200"/>
              <a:gd name="connsiteY36" fmla="*/ 817032 h 6861600"/>
              <a:gd name="connsiteX37" fmla="*/ 11708420 w 12193200"/>
              <a:gd name="connsiteY37" fmla="*/ 819459 h 6861600"/>
              <a:gd name="connsiteX38" fmla="*/ 11715671 w 12193200"/>
              <a:gd name="connsiteY38" fmla="*/ 819459 h 6861600"/>
              <a:gd name="connsiteX39" fmla="*/ 11718206 w 12193200"/>
              <a:gd name="connsiteY39" fmla="*/ 817032 h 6861600"/>
              <a:gd name="connsiteX40" fmla="*/ 11718206 w 12193200"/>
              <a:gd name="connsiteY40" fmla="*/ 752433 h 6861600"/>
              <a:gd name="connsiteX41" fmla="*/ 11715660 w 12193200"/>
              <a:gd name="connsiteY41" fmla="*/ 750006 h 6861600"/>
              <a:gd name="connsiteX42" fmla="*/ 11708668 w 12193200"/>
              <a:gd name="connsiteY42" fmla="*/ 750006 h 6861600"/>
              <a:gd name="connsiteX43" fmla="*/ 11826514 w 12193200"/>
              <a:gd name="connsiteY43" fmla="*/ 749671 h 6861600"/>
              <a:gd name="connsiteX44" fmla="*/ 11822404 w 12193200"/>
              <a:gd name="connsiteY44" fmla="*/ 751851 h 6861600"/>
              <a:gd name="connsiteX45" fmla="*/ 11798623 w 12193200"/>
              <a:gd name="connsiteY45" fmla="*/ 781695 h 6861600"/>
              <a:gd name="connsiteX46" fmla="*/ 11798105 w 12193200"/>
              <a:gd name="connsiteY46" fmla="*/ 782461 h 6861600"/>
              <a:gd name="connsiteX47" fmla="*/ 11798234 w 12193200"/>
              <a:gd name="connsiteY47" fmla="*/ 783227 h 6861600"/>
              <a:gd name="connsiteX48" fmla="*/ 11822145 w 12193200"/>
              <a:gd name="connsiteY48" fmla="*/ 817420 h 6861600"/>
              <a:gd name="connsiteX49" fmla="*/ 11826126 w 12193200"/>
              <a:gd name="connsiteY49" fmla="*/ 819470 h 6861600"/>
              <a:gd name="connsiteX50" fmla="*/ 11835254 w 12193200"/>
              <a:gd name="connsiteY50" fmla="*/ 819470 h 6861600"/>
              <a:gd name="connsiteX51" fmla="*/ 11837175 w 12193200"/>
              <a:gd name="connsiteY51" fmla="*/ 817798 h 6861600"/>
              <a:gd name="connsiteX52" fmla="*/ 11836279 w 12193200"/>
              <a:gd name="connsiteY52" fmla="*/ 816136 h 6861600"/>
              <a:gd name="connsiteX53" fmla="*/ 11810826 w 12193200"/>
              <a:gd name="connsiteY53" fmla="*/ 782450 h 6861600"/>
              <a:gd name="connsiteX54" fmla="*/ 11810567 w 12193200"/>
              <a:gd name="connsiteY54" fmla="*/ 782192 h 6861600"/>
              <a:gd name="connsiteX55" fmla="*/ 11834607 w 12193200"/>
              <a:gd name="connsiteY55" fmla="*/ 753890 h 6861600"/>
              <a:gd name="connsiteX56" fmla="*/ 11835254 w 12193200"/>
              <a:gd name="connsiteY56" fmla="*/ 751203 h 6861600"/>
              <a:gd name="connsiteX57" fmla="*/ 11832816 w 12193200"/>
              <a:gd name="connsiteY57" fmla="*/ 749671 h 6861600"/>
              <a:gd name="connsiteX58" fmla="*/ 11826514 w 12193200"/>
              <a:gd name="connsiteY58" fmla="*/ 749671 h 6861600"/>
              <a:gd name="connsiteX59" fmla="*/ 11301634 w 12193200"/>
              <a:gd name="connsiteY59" fmla="*/ 749671 h 6861600"/>
              <a:gd name="connsiteX60" fmla="*/ 11299832 w 12193200"/>
              <a:gd name="connsiteY60" fmla="*/ 751462 h 6861600"/>
              <a:gd name="connsiteX61" fmla="*/ 11300350 w 12193200"/>
              <a:gd name="connsiteY61" fmla="*/ 753383 h 6861600"/>
              <a:gd name="connsiteX62" fmla="*/ 11324605 w 12193200"/>
              <a:gd name="connsiteY62" fmla="*/ 817399 h 6861600"/>
              <a:gd name="connsiteX63" fmla="*/ 11326785 w 12193200"/>
              <a:gd name="connsiteY63" fmla="*/ 819449 h 6861600"/>
              <a:gd name="connsiteX64" fmla="*/ 11332050 w 12193200"/>
              <a:gd name="connsiteY64" fmla="*/ 819449 h 6861600"/>
              <a:gd name="connsiteX65" fmla="*/ 11334489 w 12193200"/>
              <a:gd name="connsiteY65" fmla="*/ 817399 h 6861600"/>
              <a:gd name="connsiteX66" fmla="*/ 11358108 w 12193200"/>
              <a:gd name="connsiteY66" fmla="*/ 753135 h 6861600"/>
              <a:gd name="connsiteX67" fmla="*/ 11358366 w 12193200"/>
              <a:gd name="connsiteY67" fmla="*/ 751085 h 6861600"/>
              <a:gd name="connsiteX68" fmla="*/ 11356694 w 12193200"/>
              <a:gd name="connsiteY68" fmla="*/ 749671 h 6861600"/>
              <a:gd name="connsiteX69" fmla="*/ 11350015 w 12193200"/>
              <a:gd name="connsiteY69" fmla="*/ 749671 h 6861600"/>
              <a:gd name="connsiteX70" fmla="*/ 11348343 w 12193200"/>
              <a:gd name="connsiteY70" fmla="*/ 751592 h 6861600"/>
              <a:gd name="connsiteX71" fmla="*/ 11330885 w 12193200"/>
              <a:gd name="connsiteY71" fmla="*/ 802908 h 6861600"/>
              <a:gd name="connsiteX72" fmla="*/ 11312920 w 12193200"/>
              <a:gd name="connsiteY72" fmla="*/ 751851 h 6861600"/>
              <a:gd name="connsiteX73" fmla="*/ 11309845 w 12193200"/>
              <a:gd name="connsiteY73" fmla="*/ 749671 h 6861600"/>
              <a:gd name="connsiteX74" fmla="*/ 11301634 w 12193200"/>
              <a:gd name="connsiteY74" fmla="*/ 749671 h 6861600"/>
              <a:gd name="connsiteX75" fmla="*/ 11754223 w 12193200"/>
              <a:gd name="connsiteY75" fmla="*/ 748506 h 6861600"/>
              <a:gd name="connsiteX76" fmla="*/ 11731241 w 12193200"/>
              <a:gd name="connsiteY76" fmla="*/ 767625 h 6861600"/>
              <a:gd name="connsiteX77" fmla="*/ 11749346 w 12193200"/>
              <a:gd name="connsiteY77" fmla="*/ 788417 h 6861600"/>
              <a:gd name="connsiteX78" fmla="*/ 11764236 w 12193200"/>
              <a:gd name="connsiteY78" fmla="*/ 801894 h 6861600"/>
              <a:gd name="connsiteX79" fmla="*/ 11750500 w 12193200"/>
              <a:gd name="connsiteY79" fmla="*/ 813698 h 6861600"/>
              <a:gd name="connsiteX80" fmla="*/ 11733679 w 12193200"/>
              <a:gd name="connsiteY80" fmla="*/ 806641 h 6861600"/>
              <a:gd name="connsiteX81" fmla="*/ 11728673 w 12193200"/>
              <a:gd name="connsiteY81" fmla="*/ 811130 h 6861600"/>
              <a:gd name="connsiteX82" fmla="*/ 11750241 w 12193200"/>
              <a:gd name="connsiteY82" fmla="*/ 821402 h 6861600"/>
              <a:gd name="connsiteX83" fmla="*/ 11774896 w 12193200"/>
              <a:gd name="connsiteY83" fmla="*/ 800610 h 6861600"/>
              <a:gd name="connsiteX84" fmla="*/ 11741901 w 12193200"/>
              <a:gd name="connsiteY84" fmla="*/ 766471 h 6861600"/>
              <a:gd name="connsiteX85" fmla="*/ 11753457 w 12193200"/>
              <a:gd name="connsiteY85" fmla="*/ 756199 h 6861600"/>
              <a:gd name="connsiteX86" fmla="*/ 11767322 w 12193200"/>
              <a:gd name="connsiteY86" fmla="*/ 761335 h 6861600"/>
              <a:gd name="connsiteX87" fmla="*/ 11772328 w 12193200"/>
              <a:gd name="connsiteY87" fmla="*/ 756587 h 6861600"/>
              <a:gd name="connsiteX88" fmla="*/ 11754223 w 12193200"/>
              <a:gd name="connsiteY88" fmla="*/ 748506 h 6861600"/>
              <a:gd name="connsiteX89" fmla="*/ 11614257 w 12193200"/>
              <a:gd name="connsiteY89" fmla="*/ 748117 h 6861600"/>
              <a:gd name="connsiteX90" fmla="*/ 11599001 w 12193200"/>
              <a:gd name="connsiteY90" fmla="*/ 750167 h 6861600"/>
              <a:gd name="connsiteX91" fmla="*/ 11592721 w 12193200"/>
              <a:gd name="connsiteY91" fmla="*/ 755660 h 6861600"/>
              <a:gd name="connsiteX92" fmla="*/ 11592721 w 12193200"/>
              <a:gd name="connsiteY92" fmla="*/ 816902 h 6861600"/>
              <a:gd name="connsiteX93" fmla="*/ 11595418 w 12193200"/>
              <a:gd name="connsiteY93" fmla="*/ 819071 h 6861600"/>
              <a:gd name="connsiteX94" fmla="*/ 11602216 w 12193200"/>
              <a:gd name="connsiteY94" fmla="*/ 819071 h 6861600"/>
              <a:gd name="connsiteX95" fmla="*/ 11604654 w 12193200"/>
              <a:gd name="connsiteY95" fmla="*/ 816902 h 6861600"/>
              <a:gd name="connsiteX96" fmla="*/ 11604654 w 12193200"/>
              <a:gd name="connsiteY96" fmla="*/ 760774 h 6861600"/>
              <a:gd name="connsiteX97" fmla="*/ 11611452 w 12193200"/>
              <a:gd name="connsiteY97" fmla="*/ 754764 h 6861600"/>
              <a:gd name="connsiteX98" fmla="*/ 11625943 w 12193200"/>
              <a:gd name="connsiteY98" fmla="*/ 761033 h 6861600"/>
              <a:gd name="connsiteX99" fmla="*/ 11631823 w 12193200"/>
              <a:gd name="connsiteY99" fmla="*/ 755152 h 6861600"/>
              <a:gd name="connsiteX100" fmla="*/ 11614257 w 12193200"/>
              <a:gd name="connsiteY100" fmla="*/ 748117 h 6861600"/>
              <a:gd name="connsiteX101" fmla="*/ 11553619 w 12193200"/>
              <a:gd name="connsiteY101" fmla="*/ 748117 h 6861600"/>
              <a:gd name="connsiteX102" fmla="*/ 11536236 w 12193200"/>
              <a:gd name="connsiteY102" fmla="*/ 753124 h 6861600"/>
              <a:gd name="connsiteX103" fmla="*/ 11523450 w 12193200"/>
              <a:gd name="connsiteY103" fmla="*/ 784954 h 6861600"/>
              <a:gd name="connsiteX104" fmla="*/ 11536236 w 12193200"/>
              <a:gd name="connsiteY104" fmla="*/ 816654 h 6861600"/>
              <a:gd name="connsiteX105" fmla="*/ 11553619 w 12193200"/>
              <a:gd name="connsiteY105" fmla="*/ 821531 h 6861600"/>
              <a:gd name="connsiteX106" fmla="*/ 11571001 w 12193200"/>
              <a:gd name="connsiteY106" fmla="*/ 816654 h 6861600"/>
              <a:gd name="connsiteX107" fmla="*/ 11583917 w 12193200"/>
              <a:gd name="connsiteY107" fmla="*/ 784954 h 6861600"/>
              <a:gd name="connsiteX108" fmla="*/ 11571001 w 12193200"/>
              <a:gd name="connsiteY108" fmla="*/ 753124 h 6861600"/>
              <a:gd name="connsiteX109" fmla="*/ 11553619 w 12193200"/>
              <a:gd name="connsiteY109" fmla="*/ 748117 h 6861600"/>
              <a:gd name="connsiteX110" fmla="*/ 11486031 w 12193200"/>
              <a:gd name="connsiteY110" fmla="*/ 748117 h 6861600"/>
              <a:gd name="connsiteX111" fmla="*/ 11465229 w 12193200"/>
              <a:gd name="connsiteY111" fmla="*/ 751452 h 6861600"/>
              <a:gd name="connsiteX112" fmla="*/ 11459230 w 12193200"/>
              <a:gd name="connsiteY112" fmla="*/ 756965 h 6861600"/>
              <a:gd name="connsiteX113" fmla="*/ 11459230 w 12193200"/>
              <a:gd name="connsiteY113" fmla="*/ 817010 h 6861600"/>
              <a:gd name="connsiteX114" fmla="*/ 11461787 w 12193200"/>
              <a:gd name="connsiteY114" fmla="*/ 819449 h 6861600"/>
              <a:gd name="connsiteX115" fmla="*/ 11468422 w 12193200"/>
              <a:gd name="connsiteY115" fmla="*/ 819449 h 6861600"/>
              <a:gd name="connsiteX116" fmla="*/ 11471228 w 12193200"/>
              <a:gd name="connsiteY116" fmla="*/ 816751 h 6861600"/>
              <a:gd name="connsiteX117" fmla="*/ 11471228 w 12193200"/>
              <a:gd name="connsiteY117" fmla="*/ 761454 h 6861600"/>
              <a:gd name="connsiteX118" fmla="*/ 11485654 w 12193200"/>
              <a:gd name="connsiteY118" fmla="*/ 755422 h 6861600"/>
              <a:gd name="connsiteX119" fmla="*/ 11501223 w 12193200"/>
              <a:gd name="connsiteY119" fmla="*/ 771844 h 6861600"/>
              <a:gd name="connsiteX120" fmla="*/ 11501223 w 12193200"/>
              <a:gd name="connsiteY120" fmla="*/ 816751 h 6861600"/>
              <a:gd name="connsiteX121" fmla="*/ 11504288 w 12193200"/>
              <a:gd name="connsiteY121" fmla="*/ 819449 h 6861600"/>
              <a:gd name="connsiteX122" fmla="*/ 11511690 w 12193200"/>
              <a:gd name="connsiteY122" fmla="*/ 819449 h 6861600"/>
              <a:gd name="connsiteX123" fmla="*/ 11512963 w 12193200"/>
              <a:gd name="connsiteY123" fmla="*/ 816762 h 6861600"/>
              <a:gd name="connsiteX124" fmla="*/ 11512963 w 12193200"/>
              <a:gd name="connsiteY124" fmla="*/ 770312 h 6861600"/>
              <a:gd name="connsiteX125" fmla="*/ 11486031 w 12193200"/>
              <a:gd name="connsiteY125" fmla="*/ 748117 h 6861600"/>
              <a:gd name="connsiteX126" fmla="*/ 11389700 w 12193200"/>
              <a:gd name="connsiteY126" fmla="*/ 748117 h 6861600"/>
              <a:gd name="connsiteX127" fmla="*/ 11372242 w 12193200"/>
              <a:gd name="connsiteY127" fmla="*/ 753124 h 6861600"/>
              <a:gd name="connsiteX128" fmla="*/ 11359402 w 12193200"/>
              <a:gd name="connsiteY128" fmla="*/ 784954 h 6861600"/>
              <a:gd name="connsiteX129" fmla="*/ 11372242 w 12193200"/>
              <a:gd name="connsiteY129" fmla="*/ 816654 h 6861600"/>
              <a:gd name="connsiteX130" fmla="*/ 11389700 w 12193200"/>
              <a:gd name="connsiteY130" fmla="*/ 821531 h 6861600"/>
              <a:gd name="connsiteX131" fmla="*/ 11407158 w 12193200"/>
              <a:gd name="connsiteY131" fmla="*/ 816654 h 6861600"/>
              <a:gd name="connsiteX132" fmla="*/ 11420127 w 12193200"/>
              <a:gd name="connsiteY132" fmla="*/ 784954 h 6861600"/>
              <a:gd name="connsiteX133" fmla="*/ 11407158 w 12193200"/>
              <a:gd name="connsiteY133" fmla="*/ 753124 h 6861600"/>
              <a:gd name="connsiteX134" fmla="*/ 11389700 w 12193200"/>
              <a:gd name="connsiteY134" fmla="*/ 748117 h 6861600"/>
              <a:gd name="connsiteX135" fmla="*/ 11267473 w 12193200"/>
              <a:gd name="connsiteY135" fmla="*/ 748117 h 6861600"/>
              <a:gd name="connsiteX136" fmla="*/ 11250015 w 12193200"/>
              <a:gd name="connsiteY136" fmla="*/ 753124 h 6861600"/>
              <a:gd name="connsiteX137" fmla="*/ 11237046 w 12193200"/>
              <a:gd name="connsiteY137" fmla="*/ 784954 h 6861600"/>
              <a:gd name="connsiteX138" fmla="*/ 11250015 w 12193200"/>
              <a:gd name="connsiteY138" fmla="*/ 816654 h 6861600"/>
              <a:gd name="connsiteX139" fmla="*/ 11267473 w 12193200"/>
              <a:gd name="connsiteY139" fmla="*/ 821531 h 6861600"/>
              <a:gd name="connsiteX140" fmla="*/ 11284931 w 12193200"/>
              <a:gd name="connsiteY140" fmla="*/ 816654 h 6861600"/>
              <a:gd name="connsiteX141" fmla="*/ 11297771 w 12193200"/>
              <a:gd name="connsiteY141" fmla="*/ 784954 h 6861600"/>
              <a:gd name="connsiteX142" fmla="*/ 11284931 w 12193200"/>
              <a:gd name="connsiteY142" fmla="*/ 753124 h 6861600"/>
              <a:gd name="connsiteX143" fmla="*/ 11267473 w 12193200"/>
              <a:gd name="connsiteY143" fmla="*/ 748117 h 6861600"/>
              <a:gd name="connsiteX144" fmla="*/ 11199756 w 12193200"/>
              <a:gd name="connsiteY144" fmla="*/ 748117 h 6861600"/>
              <a:gd name="connsiteX145" fmla="*/ 11178857 w 12193200"/>
              <a:gd name="connsiteY145" fmla="*/ 751452 h 6861600"/>
              <a:gd name="connsiteX146" fmla="*/ 11172825 w 12193200"/>
              <a:gd name="connsiteY146" fmla="*/ 756965 h 6861600"/>
              <a:gd name="connsiteX147" fmla="*/ 11172825 w 12193200"/>
              <a:gd name="connsiteY147" fmla="*/ 817010 h 6861600"/>
              <a:gd name="connsiteX148" fmla="*/ 11175263 w 12193200"/>
              <a:gd name="connsiteY148" fmla="*/ 819449 h 6861600"/>
              <a:gd name="connsiteX149" fmla="*/ 11181932 w 12193200"/>
              <a:gd name="connsiteY149" fmla="*/ 819449 h 6861600"/>
              <a:gd name="connsiteX150" fmla="*/ 11184748 w 12193200"/>
              <a:gd name="connsiteY150" fmla="*/ 816751 h 6861600"/>
              <a:gd name="connsiteX151" fmla="*/ 11184748 w 12193200"/>
              <a:gd name="connsiteY151" fmla="*/ 761454 h 6861600"/>
              <a:gd name="connsiteX152" fmla="*/ 11199238 w 12193200"/>
              <a:gd name="connsiteY152" fmla="*/ 755422 h 6861600"/>
              <a:gd name="connsiteX153" fmla="*/ 11214884 w 12193200"/>
              <a:gd name="connsiteY153" fmla="*/ 771844 h 6861600"/>
              <a:gd name="connsiteX154" fmla="*/ 11214884 w 12193200"/>
              <a:gd name="connsiteY154" fmla="*/ 816751 h 6861600"/>
              <a:gd name="connsiteX155" fmla="*/ 11217959 w 12193200"/>
              <a:gd name="connsiteY155" fmla="*/ 819449 h 6861600"/>
              <a:gd name="connsiteX156" fmla="*/ 11225393 w 12193200"/>
              <a:gd name="connsiteY156" fmla="*/ 819449 h 6861600"/>
              <a:gd name="connsiteX157" fmla="*/ 11226817 w 12193200"/>
              <a:gd name="connsiteY157" fmla="*/ 816762 h 6861600"/>
              <a:gd name="connsiteX158" fmla="*/ 11226817 w 12193200"/>
              <a:gd name="connsiteY158" fmla="*/ 770312 h 6861600"/>
              <a:gd name="connsiteX159" fmla="*/ 11199756 w 12193200"/>
              <a:gd name="connsiteY159" fmla="*/ 748117 h 6861600"/>
              <a:gd name="connsiteX160" fmla="*/ 11681273 w 12193200"/>
              <a:gd name="connsiteY160" fmla="*/ 724801 h 6861600"/>
              <a:gd name="connsiteX161" fmla="*/ 11678845 w 12193200"/>
              <a:gd name="connsiteY161" fmla="*/ 727876 h 6861600"/>
              <a:gd name="connsiteX162" fmla="*/ 11678845 w 12193200"/>
              <a:gd name="connsiteY162" fmla="*/ 752250 h 6861600"/>
              <a:gd name="connsiteX163" fmla="*/ 11664279 w 12193200"/>
              <a:gd name="connsiteY163" fmla="*/ 748527 h 6861600"/>
              <a:gd name="connsiteX164" fmla="*/ 11632848 w 12193200"/>
              <a:gd name="connsiteY164" fmla="*/ 784954 h 6861600"/>
              <a:gd name="connsiteX165" fmla="*/ 11666707 w 12193200"/>
              <a:gd name="connsiteY165" fmla="*/ 821510 h 6861600"/>
              <a:gd name="connsiteX166" fmla="*/ 11690477 w 12193200"/>
              <a:gd name="connsiteY166" fmla="*/ 812036 h 6861600"/>
              <a:gd name="connsiteX167" fmla="*/ 11690477 w 12193200"/>
              <a:gd name="connsiteY167" fmla="*/ 727498 h 6861600"/>
              <a:gd name="connsiteX168" fmla="*/ 11687919 w 12193200"/>
              <a:gd name="connsiteY168" fmla="*/ 724801 h 6861600"/>
              <a:gd name="connsiteX169" fmla="*/ 11681273 w 12193200"/>
              <a:gd name="connsiteY169" fmla="*/ 724801 h 6861600"/>
              <a:gd name="connsiteX170" fmla="*/ 11786797 w 12193200"/>
              <a:gd name="connsiteY170" fmla="*/ 724552 h 6861600"/>
              <a:gd name="connsiteX171" fmla="*/ 11784607 w 12193200"/>
              <a:gd name="connsiteY171" fmla="*/ 726732 h 6861600"/>
              <a:gd name="connsiteX172" fmla="*/ 11784607 w 12193200"/>
              <a:gd name="connsiteY172" fmla="*/ 817280 h 6861600"/>
              <a:gd name="connsiteX173" fmla="*/ 11786797 w 12193200"/>
              <a:gd name="connsiteY173" fmla="*/ 819330 h 6861600"/>
              <a:gd name="connsiteX174" fmla="*/ 11793864 w 12193200"/>
              <a:gd name="connsiteY174" fmla="*/ 819330 h 6861600"/>
              <a:gd name="connsiteX175" fmla="*/ 11796303 w 12193200"/>
              <a:gd name="connsiteY175" fmla="*/ 817409 h 6861600"/>
              <a:gd name="connsiteX176" fmla="*/ 11796303 w 12193200"/>
              <a:gd name="connsiteY176" fmla="*/ 726473 h 6861600"/>
              <a:gd name="connsiteX177" fmla="*/ 11793864 w 12193200"/>
              <a:gd name="connsiteY177" fmla="*/ 724552 h 6861600"/>
              <a:gd name="connsiteX178" fmla="*/ 11786797 w 12193200"/>
              <a:gd name="connsiteY178" fmla="*/ 724552 h 6861600"/>
              <a:gd name="connsiteX179" fmla="*/ 11712617 w 12193200"/>
              <a:gd name="connsiteY179" fmla="*/ 723776 h 6861600"/>
              <a:gd name="connsiteX180" fmla="*/ 11705237 w 12193200"/>
              <a:gd name="connsiteY180" fmla="*/ 730940 h 6861600"/>
              <a:gd name="connsiteX181" fmla="*/ 11712358 w 12193200"/>
              <a:gd name="connsiteY181" fmla="*/ 737975 h 6861600"/>
              <a:gd name="connsiteX182" fmla="*/ 11719609 w 12193200"/>
              <a:gd name="connsiteY182" fmla="*/ 730433 h 6861600"/>
              <a:gd name="connsiteX183" fmla="*/ 11712617 w 12193200"/>
              <a:gd name="connsiteY183" fmla="*/ 723776 h 6861600"/>
              <a:gd name="connsiteX184" fmla="*/ 11855021 w 12193200"/>
              <a:gd name="connsiteY184" fmla="*/ 713601 h 6861600"/>
              <a:gd name="connsiteX185" fmla="*/ 11855284 w 12193200"/>
              <a:gd name="connsiteY185" fmla="*/ 713794 h 6861600"/>
              <a:gd name="connsiteX186" fmla="*/ 11855021 w 12193200"/>
              <a:gd name="connsiteY186" fmla="*/ 713860 h 6861600"/>
              <a:gd name="connsiteX187" fmla="*/ 11855021 w 12193200"/>
              <a:gd name="connsiteY187" fmla="*/ 713601 h 6861600"/>
              <a:gd name="connsiteX188" fmla="*/ 11847209 w 12193200"/>
              <a:gd name="connsiteY188" fmla="*/ 704235 h 6861600"/>
              <a:gd name="connsiteX189" fmla="*/ 11851428 w 12193200"/>
              <a:gd name="connsiteY189" fmla="*/ 704235 h 6861600"/>
              <a:gd name="connsiteX190" fmla="*/ 11857190 w 12193200"/>
              <a:gd name="connsiteY190" fmla="*/ 707699 h 6861600"/>
              <a:gd name="connsiteX191" fmla="*/ 11851817 w 12193200"/>
              <a:gd name="connsiteY191" fmla="*/ 711162 h 6861600"/>
              <a:gd name="connsiteX192" fmla="*/ 11847209 w 12193200"/>
              <a:gd name="connsiteY192" fmla="*/ 711162 h 6861600"/>
              <a:gd name="connsiteX193" fmla="*/ 11843627 w 12193200"/>
              <a:gd name="connsiteY193" fmla="*/ 701020 h 6861600"/>
              <a:gd name="connsiteX194" fmla="*/ 11843627 w 12193200"/>
              <a:gd name="connsiteY194" fmla="*/ 724250 h 6861600"/>
              <a:gd name="connsiteX195" fmla="*/ 11847468 w 12193200"/>
              <a:gd name="connsiteY195" fmla="*/ 724250 h 6861600"/>
              <a:gd name="connsiteX196" fmla="*/ 11847468 w 12193200"/>
              <a:gd name="connsiteY196" fmla="*/ 714367 h 6861600"/>
              <a:gd name="connsiteX197" fmla="*/ 11849648 w 12193200"/>
              <a:gd name="connsiteY197" fmla="*/ 714367 h 6861600"/>
              <a:gd name="connsiteX198" fmla="*/ 11856553 w 12193200"/>
              <a:gd name="connsiteY198" fmla="*/ 720528 h 6861600"/>
              <a:gd name="connsiteX199" fmla="*/ 11858603 w 12193200"/>
              <a:gd name="connsiteY199" fmla="*/ 724121 h 6861600"/>
              <a:gd name="connsiteX200" fmla="*/ 11863081 w 12193200"/>
              <a:gd name="connsiteY200" fmla="*/ 724121 h 6861600"/>
              <a:gd name="connsiteX201" fmla="*/ 11860265 w 12193200"/>
              <a:gd name="connsiteY201" fmla="*/ 719503 h 6861600"/>
              <a:gd name="connsiteX202" fmla="*/ 11857064 w 12193200"/>
              <a:gd name="connsiteY202" fmla="*/ 715107 h 6861600"/>
              <a:gd name="connsiteX203" fmla="*/ 11855284 w 12193200"/>
              <a:gd name="connsiteY203" fmla="*/ 713794 h 6861600"/>
              <a:gd name="connsiteX204" fmla="*/ 11858039 w 12193200"/>
              <a:gd name="connsiteY204" fmla="*/ 713106 h 6861600"/>
              <a:gd name="connsiteX205" fmla="*/ 11861549 w 12193200"/>
              <a:gd name="connsiteY205" fmla="*/ 707310 h 6861600"/>
              <a:gd name="connsiteX206" fmla="*/ 11859370 w 12193200"/>
              <a:gd name="connsiteY206" fmla="*/ 702822 h 6861600"/>
              <a:gd name="connsiteX207" fmla="*/ 11851817 w 12193200"/>
              <a:gd name="connsiteY207" fmla="*/ 701020 h 6861600"/>
              <a:gd name="connsiteX208" fmla="*/ 11843627 w 12193200"/>
              <a:gd name="connsiteY208" fmla="*/ 701020 h 6861600"/>
              <a:gd name="connsiteX209" fmla="*/ 11852712 w 12193200"/>
              <a:gd name="connsiteY209" fmla="*/ 694611 h 6861600"/>
              <a:gd name="connsiteX210" fmla="*/ 11870623 w 12193200"/>
              <a:gd name="connsiteY210" fmla="*/ 712446 h 6861600"/>
              <a:gd name="connsiteX211" fmla="*/ 11852712 w 12193200"/>
              <a:gd name="connsiteY211" fmla="*/ 730541 h 6861600"/>
              <a:gd name="connsiteX212" fmla="*/ 11834931 w 12193200"/>
              <a:gd name="connsiteY212" fmla="*/ 712446 h 6861600"/>
              <a:gd name="connsiteX213" fmla="*/ 11852712 w 12193200"/>
              <a:gd name="connsiteY213" fmla="*/ 694611 h 6861600"/>
              <a:gd name="connsiteX214" fmla="*/ 11852712 w 12193200"/>
              <a:gd name="connsiteY214" fmla="*/ 690888 h 6861600"/>
              <a:gd name="connsiteX215" fmla="*/ 11831348 w 12193200"/>
              <a:gd name="connsiteY215" fmla="*/ 712446 h 6861600"/>
              <a:gd name="connsiteX216" fmla="*/ 11852712 w 12193200"/>
              <a:gd name="connsiteY216" fmla="*/ 734004 h 6861600"/>
              <a:gd name="connsiteX217" fmla="*/ 11874076 w 12193200"/>
              <a:gd name="connsiteY217" fmla="*/ 712446 h 6861600"/>
              <a:gd name="connsiteX218" fmla="*/ 11852712 w 12193200"/>
              <a:gd name="connsiteY218" fmla="*/ 690888 h 6861600"/>
              <a:gd name="connsiteX219" fmla="*/ 11639380 w 12193200"/>
              <a:gd name="connsiteY219" fmla="*/ 551044 h 6861600"/>
              <a:gd name="connsiteX220" fmla="*/ 11641189 w 12193200"/>
              <a:gd name="connsiteY220" fmla="*/ 551862 h 6861600"/>
              <a:gd name="connsiteX221" fmla="*/ 11644652 w 12193200"/>
              <a:gd name="connsiteY221" fmla="*/ 634274 h 6861600"/>
              <a:gd name="connsiteX222" fmla="*/ 11640682 w 12193200"/>
              <a:gd name="connsiteY222" fmla="*/ 633508 h 6861600"/>
              <a:gd name="connsiteX223" fmla="*/ 11634273 w 12193200"/>
              <a:gd name="connsiteY223" fmla="*/ 599671 h 6861600"/>
              <a:gd name="connsiteX224" fmla="*/ 11638243 w 12193200"/>
              <a:gd name="connsiteY224" fmla="*/ 552250 h 6861600"/>
              <a:gd name="connsiteX225" fmla="*/ 11639380 w 12193200"/>
              <a:gd name="connsiteY225" fmla="*/ 551044 h 6861600"/>
              <a:gd name="connsiteX226" fmla="*/ 11490639 w 12193200"/>
              <a:gd name="connsiteY226" fmla="*/ 502002 h 6861600"/>
              <a:gd name="connsiteX227" fmla="*/ 11550015 w 12193200"/>
              <a:gd name="connsiteY227" fmla="*/ 504052 h 6861600"/>
              <a:gd name="connsiteX228" fmla="*/ 11548343 w 12193200"/>
              <a:gd name="connsiteY228" fmla="*/ 536605 h 6861600"/>
              <a:gd name="connsiteX229" fmla="*/ 11499486 w 12193200"/>
              <a:gd name="connsiteY229" fmla="*/ 541094 h 6861600"/>
              <a:gd name="connsiteX230" fmla="*/ 11492948 w 12193200"/>
              <a:gd name="connsiteY230" fmla="*/ 533659 h 6861600"/>
              <a:gd name="connsiteX231" fmla="*/ 11490639 w 12193200"/>
              <a:gd name="connsiteY231" fmla="*/ 502002 h 6861600"/>
              <a:gd name="connsiteX232" fmla="*/ 11594253 w 12193200"/>
              <a:gd name="connsiteY232" fmla="*/ 498797 h 6861600"/>
              <a:gd name="connsiteX233" fmla="*/ 11598612 w 12193200"/>
              <a:gd name="connsiteY233" fmla="*/ 520075 h 6861600"/>
              <a:gd name="connsiteX234" fmla="*/ 11588351 w 12193200"/>
              <a:gd name="connsiteY234" fmla="*/ 527509 h 6861600"/>
              <a:gd name="connsiteX235" fmla="*/ 11580011 w 12193200"/>
              <a:gd name="connsiteY235" fmla="*/ 500718 h 6861600"/>
              <a:gd name="connsiteX236" fmla="*/ 11594253 w 12193200"/>
              <a:gd name="connsiteY236" fmla="*/ 498797 h 6861600"/>
              <a:gd name="connsiteX237" fmla="*/ 11441405 w 12193200"/>
              <a:gd name="connsiteY237" fmla="*/ 491374 h 6861600"/>
              <a:gd name="connsiteX238" fmla="*/ 11460384 w 12193200"/>
              <a:gd name="connsiteY238" fmla="*/ 496499 h 6861600"/>
              <a:gd name="connsiteX239" fmla="*/ 11442948 w 12193200"/>
              <a:gd name="connsiteY239" fmla="*/ 533670 h 6861600"/>
              <a:gd name="connsiteX240" fmla="*/ 11434607 w 12193200"/>
              <a:gd name="connsiteY240" fmla="*/ 527131 h 6861600"/>
              <a:gd name="connsiteX241" fmla="*/ 11441405 w 12193200"/>
              <a:gd name="connsiteY241" fmla="*/ 491374 h 6861600"/>
              <a:gd name="connsiteX242" fmla="*/ 11419441 w 12193200"/>
              <a:gd name="connsiteY242" fmla="*/ 484343 h 6861600"/>
              <a:gd name="connsiteX243" fmla="*/ 11431543 w 12193200"/>
              <a:gd name="connsiteY243" fmla="*/ 488299 h 6861600"/>
              <a:gd name="connsiteX244" fmla="*/ 11423202 w 12193200"/>
              <a:gd name="connsiteY244" fmla="*/ 532257 h 6861600"/>
              <a:gd name="connsiteX245" fmla="*/ 11444102 w 12193200"/>
              <a:gd name="connsiteY245" fmla="*/ 543154 h 6861600"/>
              <a:gd name="connsiteX246" fmla="*/ 11469620 w 12193200"/>
              <a:gd name="connsiteY246" fmla="*/ 498549 h 6861600"/>
              <a:gd name="connsiteX247" fmla="*/ 11481672 w 12193200"/>
              <a:gd name="connsiteY247" fmla="*/ 500729 h 6861600"/>
              <a:gd name="connsiteX248" fmla="*/ 11485395 w 12193200"/>
              <a:gd name="connsiteY248" fmla="*/ 542507 h 6861600"/>
              <a:gd name="connsiteX249" fmla="*/ 11498472 w 12193200"/>
              <a:gd name="connsiteY249" fmla="*/ 550707 h 6861600"/>
              <a:gd name="connsiteX250" fmla="*/ 11555917 w 12193200"/>
              <a:gd name="connsiteY250" fmla="*/ 543532 h 6861600"/>
              <a:gd name="connsiteX251" fmla="*/ 11559122 w 12193200"/>
              <a:gd name="connsiteY251" fmla="*/ 503286 h 6861600"/>
              <a:gd name="connsiteX252" fmla="*/ 11570149 w 12193200"/>
              <a:gd name="connsiteY252" fmla="*/ 502002 h 6861600"/>
              <a:gd name="connsiteX253" fmla="*/ 11579385 w 12193200"/>
              <a:gd name="connsiteY253" fmla="*/ 528405 h 6861600"/>
              <a:gd name="connsiteX254" fmla="*/ 11598752 w 12193200"/>
              <a:gd name="connsiteY254" fmla="*/ 531739 h 6861600"/>
              <a:gd name="connsiteX255" fmla="*/ 11602723 w 12193200"/>
              <a:gd name="connsiteY255" fmla="*/ 497772 h 6861600"/>
              <a:gd name="connsiteX256" fmla="*/ 11625673 w 12193200"/>
              <a:gd name="connsiteY256" fmla="*/ 533282 h 6861600"/>
              <a:gd name="connsiteX257" fmla="*/ 11612855 w 12193200"/>
              <a:gd name="connsiteY257" fmla="*/ 586216 h 6861600"/>
              <a:gd name="connsiteX258" fmla="*/ 11537326 w 12193200"/>
              <a:gd name="connsiteY258" fmla="*/ 569427 h 6861600"/>
              <a:gd name="connsiteX259" fmla="*/ 11459488 w 12193200"/>
              <a:gd name="connsiteY259" fmla="*/ 611465 h 6861600"/>
              <a:gd name="connsiteX260" fmla="*/ 11456154 w 12193200"/>
              <a:gd name="connsiteY260" fmla="*/ 612360 h 6861600"/>
              <a:gd name="connsiteX261" fmla="*/ 11418325 w 12193200"/>
              <a:gd name="connsiteY261" fmla="*/ 585191 h 6861600"/>
              <a:gd name="connsiteX262" fmla="*/ 11388707 w 12193200"/>
              <a:gd name="connsiteY262" fmla="*/ 549434 h 6861600"/>
              <a:gd name="connsiteX263" fmla="*/ 11414743 w 12193200"/>
              <a:gd name="connsiteY263" fmla="*/ 487403 h 6861600"/>
              <a:gd name="connsiteX264" fmla="*/ 11419441 w 12193200"/>
              <a:gd name="connsiteY264" fmla="*/ 484343 h 6861600"/>
              <a:gd name="connsiteX265" fmla="*/ 11358173 w 12193200"/>
              <a:gd name="connsiteY265" fmla="*/ 469801 h 6861600"/>
              <a:gd name="connsiteX266" fmla="*/ 11346260 w 12193200"/>
              <a:gd name="connsiteY266" fmla="*/ 478275 h 6861600"/>
              <a:gd name="connsiteX267" fmla="*/ 11361744 w 12193200"/>
              <a:gd name="connsiteY267" fmla="*/ 470744 h 6861600"/>
              <a:gd name="connsiteX268" fmla="*/ 11358173 w 12193200"/>
              <a:gd name="connsiteY268" fmla="*/ 469801 h 6861600"/>
              <a:gd name="connsiteX269" fmla="*/ 11354455 w 12193200"/>
              <a:gd name="connsiteY269" fmla="*/ 453696 h 6861600"/>
              <a:gd name="connsiteX270" fmla="*/ 11379471 w 12193200"/>
              <a:gd name="connsiteY270" fmla="*/ 464454 h 6861600"/>
              <a:gd name="connsiteX271" fmla="*/ 11401267 w 12193200"/>
              <a:gd name="connsiteY271" fmla="*/ 487522 h 6861600"/>
              <a:gd name="connsiteX272" fmla="*/ 11376515 w 12193200"/>
              <a:gd name="connsiteY272" fmla="*/ 541611 h 6861600"/>
              <a:gd name="connsiteX273" fmla="*/ 11357665 w 12193200"/>
              <a:gd name="connsiteY273" fmla="*/ 511745 h 6861600"/>
              <a:gd name="connsiteX274" fmla="*/ 11330734 w 12193200"/>
              <a:gd name="connsiteY274" fmla="*/ 504052 h 6861600"/>
              <a:gd name="connsiteX275" fmla="*/ 11328166 w 12193200"/>
              <a:gd name="connsiteY275" fmla="*/ 491881 h 6861600"/>
              <a:gd name="connsiteX276" fmla="*/ 11335600 w 12193200"/>
              <a:gd name="connsiteY276" fmla="*/ 481879 h 6861600"/>
              <a:gd name="connsiteX277" fmla="*/ 11338297 w 12193200"/>
              <a:gd name="connsiteY277" fmla="*/ 470604 h 6861600"/>
              <a:gd name="connsiteX278" fmla="*/ 11349972 w 12193200"/>
              <a:gd name="connsiteY278" fmla="*/ 456124 h 6861600"/>
              <a:gd name="connsiteX279" fmla="*/ 11354455 w 12193200"/>
              <a:gd name="connsiteY279" fmla="*/ 453696 h 6861600"/>
              <a:gd name="connsiteX280" fmla="*/ 11324025 w 12193200"/>
              <a:gd name="connsiteY280" fmla="*/ 392924 h 6861600"/>
              <a:gd name="connsiteX281" fmla="*/ 11322134 w 12193200"/>
              <a:gd name="connsiteY281" fmla="*/ 400006 h 6861600"/>
              <a:gd name="connsiteX282" fmla="*/ 11335988 w 12193200"/>
              <a:gd name="connsiteY282" fmla="*/ 441536 h 6861600"/>
              <a:gd name="connsiteX283" fmla="*/ 11339193 w 12193200"/>
              <a:gd name="connsiteY283" fmla="*/ 451786 h 6861600"/>
              <a:gd name="connsiteX284" fmla="*/ 11328425 w 12193200"/>
              <a:gd name="connsiteY284" fmla="*/ 467162 h 6861600"/>
              <a:gd name="connsiteX285" fmla="*/ 11327270 w 12193200"/>
              <a:gd name="connsiteY285" fmla="*/ 474855 h 6861600"/>
              <a:gd name="connsiteX286" fmla="*/ 11315477 w 12193200"/>
              <a:gd name="connsiteY286" fmla="*/ 490748 h 6861600"/>
              <a:gd name="connsiteX287" fmla="*/ 11317268 w 12193200"/>
              <a:gd name="connsiteY287" fmla="*/ 503696 h 6861600"/>
              <a:gd name="connsiteX288" fmla="*/ 11327788 w 12193200"/>
              <a:gd name="connsiteY288" fmla="*/ 514594 h 6861600"/>
              <a:gd name="connsiteX289" fmla="*/ 11341890 w 12193200"/>
              <a:gd name="connsiteY289" fmla="*/ 516137 h 6861600"/>
              <a:gd name="connsiteX290" fmla="*/ 11358561 w 12193200"/>
              <a:gd name="connsiteY290" fmla="*/ 529214 h 6861600"/>
              <a:gd name="connsiteX291" fmla="*/ 11388308 w 12193200"/>
              <a:gd name="connsiteY291" fmla="*/ 580476 h 6861600"/>
              <a:gd name="connsiteX292" fmla="*/ 11394717 w 12193200"/>
              <a:gd name="connsiteY292" fmla="*/ 606490 h 6861600"/>
              <a:gd name="connsiteX293" fmla="*/ 11360611 w 12193200"/>
              <a:gd name="connsiteY293" fmla="*/ 709026 h 6861600"/>
              <a:gd name="connsiteX294" fmla="*/ 11362402 w 12193200"/>
              <a:gd name="connsiteY294" fmla="*/ 719406 h 6861600"/>
              <a:gd name="connsiteX295" fmla="*/ 11388567 w 12193200"/>
              <a:gd name="connsiteY295" fmla="*/ 719406 h 6861600"/>
              <a:gd name="connsiteX296" fmla="*/ 11394210 w 12193200"/>
              <a:gd name="connsiteY296" fmla="*/ 711972 h 6861600"/>
              <a:gd name="connsiteX297" fmla="*/ 11429094 w 12193200"/>
              <a:gd name="connsiteY297" fmla="*/ 608411 h 6861600"/>
              <a:gd name="connsiteX298" fmla="*/ 11464484 w 12193200"/>
              <a:gd name="connsiteY298" fmla="*/ 709921 h 6861600"/>
              <a:gd name="connsiteX299" fmla="*/ 11468207 w 12193200"/>
              <a:gd name="connsiteY299" fmla="*/ 719665 h 6861600"/>
              <a:gd name="connsiteX300" fmla="*/ 11490650 w 12193200"/>
              <a:gd name="connsiteY300" fmla="*/ 719665 h 6861600"/>
              <a:gd name="connsiteX301" fmla="*/ 11497954 w 12193200"/>
              <a:gd name="connsiteY301" fmla="*/ 713126 h 6861600"/>
              <a:gd name="connsiteX302" fmla="*/ 11473979 w 12193200"/>
              <a:gd name="connsiteY302" fmla="*/ 619309 h 6861600"/>
              <a:gd name="connsiteX303" fmla="*/ 11535276 w 12193200"/>
              <a:gd name="connsiteY303" fmla="*/ 595345 h 6861600"/>
              <a:gd name="connsiteX304" fmla="*/ 11569383 w 12193200"/>
              <a:gd name="connsiteY304" fmla="*/ 622136 h 6861600"/>
              <a:gd name="connsiteX305" fmla="*/ 11512315 w 12193200"/>
              <a:gd name="connsiteY305" fmla="*/ 709932 h 6861600"/>
              <a:gd name="connsiteX306" fmla="*/ 11514624 w 12193200"/>
              <a:gd name="connsiteY306" fmla="*/ 719417 h 6861600"/>
              <a:gd name="connsiteX307" fmla="*/ 11538351 w 12193200"/>
              <a:gd name="connsiteY307" fmla="*/ 719417 h 6861600"/>
              <a:gd name="connsiteX308" fmla="*/ 11547069 w 12193200"/>
              <a:gd name="connsiteY308" fmla="*/ 713903 h 6861600"/>
              <a:gd name="connsiteX309" fmla="*/ 11598623 w 12193200"/>
              <a:gd name="connsiteY309" fmla="*/ 630983 h 6861600"/>
              <a:gd name="connsiteX310" fmla="*/ 11608496 w 12193200"/>
              <a:gd name="connsiteY310" fmla="*/ 600869 h 6861600"/>
              <a:gd name="connsiteX311" fmla="*/ 11599130 w 12193200"/>
              <a:gd name="connsiteY311" fmla="*/ 710062 h 6861600"/>
              <a:gd name="connsiteX312" fmla="*/ 11601439 w 12193200"/>
              <a:gd name="connsiteY312" fmla="*/ 719287 h 6861600"/>
              <a:gd name="connsiteX313" fmla="*/ 11622857 w 12193200"/>
              <a:gd name="connsiteY313" fmla="*/ 719287 h 6861600"/>
              <a:gd name="connsiteX314" fmla="*/ 11629525 w 12193200"/>
              <a:gd name="connsiteY314" fmla="*/ 711087 h 6861600"/>
              <a:gd name="connsiteX315" fmla="*/ 11634650 w 12193200"/>
              <a:gd name="connsiteY315" fmla="*/ 693014 h 6861600"/>
              <a:gd name="connsiteX316" fmla="*/ 11654018 w 12193200"/>
              <a:gd name="connsiteY316" fmla="*/ 688018 h 6861600"/>
              <a:gd name="connsiteX317" fmla="*/ 11659024 w 12193200"/>
              <a:gd name="connsiteY317" fmla="*/ 680584 h 6861600"/>
              <a:gd name="connsiteX318" fmla="*/ 11654654 w 12193200"/>
              <a:gd name="connsiteY318" fmla="*/ 520852 h 6861600"/>
              <a:gd name="connsiteX319" fmla="*/ 11603360 w 12193200"/>
              <a:gd name="connsiteY319" fmla="*/ 487533 h 6861600"/>
              <a:gd name="connsiteX320" fmla="*/ 11526547 w 12193200"/>
              <a:gd name="connsiteY320" fmla="*/ 493424 h 6861600"/>
              <a:gd name="connsiteX321" fmla="*/ 11402033 w 12193200"/>
              <a:gd name="connsiteY321" fmla="*/ 464842 h 6861600"/>
              <a:gd name="connsiteX322" fmla="*/ 11401644 w 12193200"/>
              <a:gd name="connsiteY322" fmla="*/ 459199 h 6861600"/>
              <a:gd name="connsiteX323" fmla="*/ 11433960 w 12193200"/>
              <a:gd name="connsiteY323" fmla="*/ 433314 h 6861600"/>
              <a:gd name="connsiteX324" fmla="*/ 11431392 w 12193200"/>
              <a:gd name="connsiteY324" fmla="*/ 426398 h 6861600"/>
              <a:gd name="connsiteX325" fmla="*/ 11365995 w 12193200"/>
              <a:gd name="connsiteY325" fmla="*/ 438191 h 6861600"/>
              <a:gd name="connsiteX326" fmla="*/ 11327648 w 12193200"/>
              <a:gd name="connsiteY326" fmla="*/ 397568 h 6861600"/>
              <a:gd name="connsiteX327" fmla="*/ 11324025 w 12193200"/>
              <a:gd name="connsiteY327" fmla="*/ 392924 h 6861600"/>
              <a:gd name="connsiteX328" fmla="*/ 11391491 w 12193200"/>
              <a:gd name="connsiteY328" fmla="*/ 334037 h 6861600"/>
              <a:gd name="connsiteX329" fmla="*/ 11426364 w 12193200"/>
              <a:gd name="connsiteY329" fmla="*/ 368996 h 6861600"/>
              <a:gd name="connsiteX330" fmla="*/ 11391491 w 12193200"/>
              <a:gd name="connsiteY330" fmla="*/ 403955 h 6861600"/>
              <a:gd name="connsiteX331" fmla="*/ 11356360 w 12193200"/>
              <a:gd name="connsiteY331" fmla="*/ 368996 h 6861600"/>
              <a:gd name="connsiteX332" fmla="*/ 11391491 w 12193200"/>
              <a:gd name="connsiteY332" fmla="*/ 334037 h 6861600"/>
              <a:gd name="connsiteX333" fmla="*/ 11389959 w 12193200"/>
              <a:gd name="connsiteY333" fmla="*/ 321618 h 6861600"/>
              <a:gd name="connsiteX334" fmla="*/ 11337262 w 12193200"/>
              <a:gd name="connsiteY334" fmla="*/ 374510 h 6861600"/>
              <a:gd name="connsiteX335" fmla="*/ 11389959 w 12193200"/>
              <a:gd name="connsiteY335" fmla="*/ 427401 h 6861600"/>
              <a:gd name="connsiteX336" fmla="*/ 11442656 w 12193200"/>
              <a:gd name="connsiteY336" fmla="*/ 374510 h 6861600"/>
              <a:gd name="connsiteX337" fmla="*/ 11389959 w 12193200"/>
              <a:gd name="connsiteY337" fmla="*/ 321618 h 6861600"/>
              <a:gd name="connsiteX338" fmla="*/ 0 w 12193200"/>
              <a:gd name="connsiteY338" fmla="*/ 0 h 6861600"/>
              <a:gd name="connsiteX339" fmla="*/ 12193200 w 12193200"/>
              <a:gd name="connsiteY339" fmla="*/ 0 h 6861600"/>
              <a:gd name="connsiteX340" fmla="*/ 12193200 w 12193200"/>
              <a:gd name="connsiteY340" fmla="*/ 6861600 h 6861600"/>
              <a:gd name="connsiteX341" fmla="*/ 0 w 12193200"/>
              <a:gd name="connsiteY341" fmla="*/ 6861600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2193200" h="6861600">
                <a:moveTo>
                  <a:pt x="11666200" y="756760"/>
                </a:moveTo>
                <a:cubicBezTo>
                  <a:pt x="11673094" y="756760"/>
                  <a:pt x="11676288" y="758939"/>
                  <a:pt x="11678975" y="761119"/>
                </a:cubicBezTo>
                <a:cubicBezTo>
                  <a:pt x="11678975" y="808195"/>
                  <a:pt x="11678975" y="808195"/>
                  <a:pt x="11678975" y="808195"/>
                </a:cubicBezTo>
                <a:lnTo>
                  <a:pt x="11678845" y="808195"/>
                </a:lnTo>
                <a:cubicBezTo>
                  <a:pt x="11678845" y="811658"/>
                  <a:pt x="11673094" y="813579"/>
                  <a:pt x="11667095" y="813579"/>
                </a:cubicBezTo>
                <a:cubicBezTo>
                  <a:pt x="11654191" y="813579"/>
                  <a:pt x="11644998" y="802671"/>
                  <a:pt x="11644998" y="784080"/>
                </a:cubicBezTo>
                <a:cubicBezTo>
                  <a:pt x="11644998" y="767658"/>
                  <a:pt x="11653942" y="756760"/>
                  <a:pt x="11666200" y="756760"/>
                </a:cubicBezTo>
                <a:close/>
                <a:moveTo>
                  <a:pt x="11553608" y="755951"/>
                </a:moveTo>
                <a:cubicBezTo>
                  <a:pt x="11558334" y="755951"/>
                  <a:pt x="11561787" y="756976"/>
                  <a:pt x="11565369" y="760439"/>
                </a:cubicBezTo>
                <a:cubicBezTo>
                  <a:pt x="11569210" y="764032"/>
                  <a:pt x="11571638" y="771995"/>
                  <a:pt x="11571638" y="784954"/>
                </a:cubicBezTo>
                <a:cubicBezTo>
                  <a:pt x="11571638" y="797535"/>
                  <a:pt x="11569210" y="805746"/>
                  <a:pt x="11565369" y="809339"/>
                </a:cubicBezTo>
                <a:cubicBezTo>
                  <a:pt x="11561787" y="812802"/>
                  <a:pt x="11558334" y="813698"/>
                  <a:pt x="11553608" y="813698"/>
                </a:cubicBezTo>
                <a:cubicBezTo>
                  <a:pt x="11548882" y="813698"/>
                  <a:pt x="11545677" y="812802"/>
                  <a:pt x="11542106" y="809339"/>
                </a:cubicBezTo>
                <a:cubicBezTo>
                  <a:pt x="11538394" y="805746"/>
                  <a:pt x="11535837" y="797783"/>
                  <a:pt x="11535837" y="784954"/>
                </a:cubicBezTo>
                <a:cubicBezTo>
                  <a:pt x="11535837" y="772243"/>
                  <a:pt x="11538394" y="764032"/>
                  <a:pt x="11542106" y="760439"/>
                </a:cubicBezTo>
                <a:cubicBezTo>
                  <a:pt x="11545688" y="756976"/>
                  <a:pt x="11549141" y="755951"/>
                  <a:pt x="11553608" y="755951"/>
                </a:cubicBezTo>
                <a:close/>
                <a:moveTo>
                  <a:pt x="11389948" y="755951"/>
                </a:moveTo>
                <a:cubicBezTo>
                  <a:pt x="11394707" y="755951"/>
                  <a:pt x="11397911" y="756976"/>
                  <a:pt x="11401504" y="760439"/>
                </a:cubicBezTo>
                <a:cubicBezTo>
                  <a:pt x="11405356" y="764032"/>
                  <a:pt x="11407795" y="771995"/>
                  <a:pt x="11407795" y="784954"/>
                </a:cubicBezTo>
                <a:cubicBezTo>
                  <a:pt x="11407795" y="797535"/>
                  <a:pt x="11405356" y="805746"/>
                  <a:pt x="11401504" y="809339"/>
                </a:cubicBezTo>
                <a:cubicBezTo>
                  <a:pt x="11397911" y="812802"/>
                  <a:pt x="11394448" y="813698"/>
                  <a:pt x="11389948" y="813698"/>
                </a:cubicBezTo>
                <a:cubicBezTo>
                  <a:pt x="11385201" y="813698"/>
                  <a:pt x="11381985" y="812802"/>
                  <a:pt x="11378133" y="809339"/>
                </a:cubicBezTo>
                <a:cubicBezTo>
                  <a:pt x="11374411" y="805746"/>
                  <a:pt x="11371843" y="797783"/>
                  <a:pt x="11371843" y="784954"/>
                </a:cubicBezTo>
                <a:cubicBezTo>
                  <a:pt x="11371843" y="772243"/>
                  <a:pt x="11374411" y="764032"/>
                  <a:pt x="11378133" y="760439"/>
                </a:cubicBezTo>
                <a:cubicBezTo>
                  <a:pt x="11381726" y="756976"/>
                  <a:pt x="11385190" y="755951"/>
                  <a:pt x="11389948" y="755951"/>
                </a:cubicBezTo>
                <a:close/>
                <a:moveTo>
                  <a:pt x="11267462" y="755951"/>
                </a:moveTo>
                <a:cubicBezTo>
                  <a:pt x="11272210" y="755951"/>
                  <a:pt x="11275425" y="756976"/>
                  <a:pt x="11279148" y="760439"/>
                </a:cubicBezTo>
                <a:cubicBezTo>
                  <a:pt x="11282881" y="764032"/>
                  <a:pt x="11285438" y="771995"/>
                  <a:pt x="11285438" y="784954"/>
                </a:cubicBezTo>
                <a:cubicBezTo>
                  <a:pt x="11285438" y="797535"/>
                  <a:pt x="11283000" y="805746"/>
                  <a:pt x="11279148" y="809339"/>
                </a:cubicBezTo>
                <a:cubicBezTo>
                  <a:pt x="11275555" y="812802"/>
                  <a:pt x="11272210" y="813698"/>
                  <a:pt x="11267462" y="813698"/>
                </a:cubicBezTo>
                <a:cubicBezTo>
                  <a:pt x="11262715" y="813698"/>
                  <a:pt x="11259499" y="812802"/>
                  <a:pt x="11255907" y="809339"/>
                </a:cubicBezTo>
                <a:cubicBezTo>
                  <a:pt x="11252054" y="805746"/>
                  <a:pt x="11249616" y="797783"/>
                  <a:pt x="11249616" y="784954"/>
                </a:cubicBezTo>
                <a:cubicBezTo>
                  <a:pt x="11249616" y="772243"/>
                  <a:pt x="11252054" y="764032"/>
                  <a:pt x="11255907" y="760439"/>
                </a:cubicBezTo>
                <a:cubicBezTo>
                  <a:pt x="11259499" y="756976"/>
                  <a:pt x="11262844" y="755951"/>
                  <a:pt x="11267462" y="755951"/>
                </a:cubicBezTo>
                <a:close/>
                <a:moveTo>
                  <a:pt x="11708668" y="750006"/>
                </a:moveTo>
                <a:cubicBezTo>
                  <a:pt x="11706381" y="750006"/>
                  <a:pt x="11706381" y="750772"/>
                  <a:pt x="11706381" y="752433"/>
                </a:cubicBezTo>
                <a:cubicBezTo>
                  <a:pt x="11706381" y="817032"/>
                  <a:pt x="11706381" y="817032"/>
                  <a:pt x="11706381" y="817032"/>
                </a:cubicBezTo>
                <a:cubicBezTo>
                  <a:pt x="11706381" y="818952"/>
                  <a:pt x="11706381" y="819459"/>
                  <a:pt x="11708420" y="819459"/>
                </a:cubicBezTo>
                <a:cubicBezTo>
                  <a:pt x="11715671" y="819459"/>
                  <a:pt x="11715671" y="819459"/>
                  <a:pt x="11715671" y="819459"/>
                </a:cubicBezTo>
                <a:cubicBezTo>
                  <a:pt x="11717699" y="819330"/>
                  <a:pt x="11718206" y="819330"/>
                  <a:pt x="11718206" y="817032"/>
                </a:cubicBezTo>
                <a:cubicBezTo>
                  <a:pt x="11718206" y="752433"/>
                  <a:pt x="11718206" y="752433"/>
                  <a:pt x="11718206" y="752433"/>
                </a:cubicBezTo>
                <a:cubicBezTo>
                  <a:pt x="11718206" y="750383"/>
                  <a:pt x="11717699" y="750006"/>
                  <a:pt x="11715660" y="750006"/>
                </a:cubicBezTo>
                <a:cubicBezTo>
                  <a:pt x="11708668" y="750006"/>
                  <a:pt x="11708668" y="750006"/>
                  <a:pt x="11708668" y="750006"/>
                </a:cubicBezTo>
                <a:close/>
                <a:moveTo>
                  <a:pt x="11826514" y="749671"/>
                </a:moveTo>
                <a:cubicBezTo>
                  <a:pt x="11824076" y="749671"/>
                  <a:pt x="11823170" y="749542"/>
                  <a:pt x="11822404" y="751851"/>
                </a:cubicBezTo>
                <a:cubicBezTo>
                  <a:pt x="11818552" y="763374"/>
                  <a:pt x="11808647" y="775804"/>
                  <a:pt x="11798623" y="781695"/>
                </a:cubicBezTo>
                <a:cubicBezTo>
                  <a:pt x="11798234" y="782084"/>
                  <a:pt x="11798105" y="782461"/>
                  <a:pt x="11798105" y="782461"/>
                </a:cubicBezTo>
                <a:cubicBezTo>
                  <a:pt x="11798105" y="782591"/>
                  <a:pt x="11798234" y="782968"/>
                  <a:pt x="11798234" y="783227"/>
                </a:cubicBezTo>
                <a:cubicBezTo>
                  <a:pt x="11822145" y="817420"/>
                  <a:pt x="11822145" y="817420"/>
                  <a:pt x="11822145" y="817420"/>
                </a:cubicBezTo>
                <a:cubicBezTo>
                  <a:pt x="11823558" y="819470"/>
                  <a:pt x="11824076" y="819470"/>
                  <a:pt x="11826126" y="819470"/>
                </a:cubicBezTo>
                <a:cubicBezTo>
                  <a:pt x="11835254" y="819470"/>
                  <a:pt x="11835254" y="819470"/>
                  <a:pt x="11835254" y="819470"/>
                </a:cubicBezTo>
                <a:cubicBezTo>
                  <a:pt x="11835891" y="819330"/>
                  <a:pt x="11837175" y="819330"/>
                  <a:pt x="11837175" y="817798"/>
                </a:cubicBezTo>
                <a:cubicBezTo>
                  <a:pt x="11837175" y="817291"/>
                  <a:pt x="11836786" y="816643"/>
                  <a:pt x="11836279" y="816136"/>
                </a:cubicBezTo>
                <a:cubicBezTo>
                  <a:pt x="11810826" y="782450"/>
                  <a:pt x="11810826" y="782450"/>
                  <a:pt x="11810826" y="782450"/>
                </a:cubicBezTo>
                <a:cubicBezTo>
                  <a:pt x="11810567" y="782192"/>
                  <a:pt x="11810567" y="782192"/>
                  <a:pt x="11810567" y="782192"/>
                </a:cubicBezTo>
                <a:cubicBezTo>
                  <a:pt x="11819566" y="775534"/>
                  <a:pt x="11828824" y="765154"/>
                  <a:pt x="11834607" y="753890"/>
                </a:cubicBezTo>
                <a:cubicBezTo>
                  <a:pt x="11835125" y="752606"/>
                  <a:pt x="11835254" y="751969"/>
                  <a:pt x="11835254" y="751203"/>
                </a:cubicBezTo>
                <a:cubicBezTo>
                  <a:pt x="11835254" y="750049"/>
                  <a:pt x="11834607" y="749671"/>
                  <a:pt x="11832816" y="749671"/>
                </a:cubicBezTo>
                <a:cubicBezTo>
                  <a:pt x="11826514" y="749671"/>
                  <a:pt x="11826514" y="749671"/>
                  <a:pt x="11826514" y="749671"/>
                </a:cubicBezTo>
                <a:close/>
                <a:moveTo>
                  <a:pt x="11301634" y="749671"/>
                </a:moveTo>
                <a:cubicBezTo>
                  <a:pt x="11301116" y="749671"/>
                  <a:pt x="11299832" y="749671"/>
                  <a:pt x="11299832" y="751462"/>
                </a:cubicBezTo>
                <a:cubicBezTo>
                  <a:pt x="11299832" y="751980"/>
                  <a:pt x="11299961" y="752617"/>
                  <a:pt x="11300350" y="753383"/>
                </a:cubicBezTo>
                <a:cubicBezTo>
                  <a:pt x="11324605" y="817399"/>
                  <a:pt x="11324605" y="817399"/>
                  <a:pt x="11324605" y="817399"/>
                </a:cubicBezTo>
                <a:cubicBezTo>
                  <a:pt x="11325371" y="818942"/>
                  <a:pt x="11325630" y="819449"/>
                  <a:pt x="11326785" y="819449"/>
                </a:cubicBezTo>
                <a:cubicBezTo>
                  <a:pt x="11332050" y="819449"/>
                  <a:pt x="11332050" y="819449"/>
                  <a:pt x="11332050" y="819449"/>
                </a:cubicBezTo>
                <a:cubicBezTo>
                  <a:pt x="11333593" y="819449"/>
                  <a:pt x="11333971" y="819190"/>
                  <a:pt x="11334489" y="817399"/>
                </a:cubicBezTo>
                <a:cubicBezTo>
                  <a:pt x="11358108" y="753135"/>
                  <a:pt x="11358108" y="753135"/>
                  <a:pt x="11358108" y="753135"/>
                </a:cubicBezTo>
                <a:cubicBezTo>
                  <a:pt x="11358366" y="751592"/>
                  <a:pt x="11358366" y="751462"/>
                  <a:pt x="11358366" y="751085"/>
                </a:cubicBezTo>
                <a:cubicBezTo>
                  <a:pt x="11358366" y="749671"/>
                  <a:pt x="11357341" y="749671"/>
                  <a:pt x="11356694" y="749671"/>
                </a:cubicBezTo>
                <a:cubicBezTo>
                  <a:pt x="11350015" y="749671"/>
                  <a:pt x="11350015" y="749671"/>
                  <a:pt x="11350015" y="749671"/>
                </a:cubicBezTo>
                <a:cubicBezTo>
                  <a:pt x="11349120" y="749930"/>
                  <a:pt x="11348990" y="750308"/>
                  <a:pt x="11348343" y="751592"/>
                </a:cubicBezTo>
                <a:cubicBezTo>
                  <a:pt x="11330885" y="802908"/>
                  <a:pt x="11330885" y="802908"/>
                  <a:pt x="11330885" y="802908"/>
                </a:cubicBezTo>
                <a:cubicBezTo>
                  <a:pt x="11312920" y="751851"/>
                  <a:pt x="11312920" y="751851"/>
                  <a:pt x="11312920" y="751851"/>
                </a:cubicBezTo>
                <a:cubicBezTo>
                  <a:pt x="11312154" y="749930"/>
                  <a:pt x="11311895" y="749671"/>
                  <a:pt x="11309845" y="749671"/>
                </a:cubicBezTo>
                <a:cubicBezTo>
                  <a:pt x="11301634" y="749671"/>
                  <a:pt x="11301634" y="749671"/>
                  <a:pt x="11301634" y="749671"/>
                </a:cubicBezTo>
                <a:close/>
                <a:moveTo>
                  <a:pt x="11754223" y="748506"/>
                </a:moveTo>
                <a:cubicBezTo>
                  <a:pt x="11742149" y="748506"/>
                  <a:pt x="11731241" y="755185"/>
                  <a:pt x="11731241" y="767625"/>
                </a:cubicBezTo>
                <a:cubicBezTo>
                  <a:pt x="11731241" y="779300"/>
                  <a:pt x="11739462" y="784177"/>
                  <a:pt x="11749346" y="788417"/>
                </a:cubicBezTo>
                <a:cubicBezTo>
                  <a:pt x="11757050" y="791622"/>
                  <a:pt x="11764236" y="794708"/>
                  <a:pt x="11764236" y="801894"/>
                </a:cubicBezTo>
                <a:cubicBezTo>
                  <a:pt x="11764236" y="807407"/>
                  <a:pt x="11759866" y="813698"/>
                  <a:pt x="11750500" y="813698"/>
                </a:cubicBezTo>
                <a:cubicBezTo>
                  <a:pt x="11740995" y="813698"/>
                  <a:pt x="11738308" y="806641"/>
                  <a:pt x="11733679" y="806641"/>
                </a:cubicBezTo>
                <a:cubicBezTo>
                  <a:pt x="11731500" y="806641"/>
                  <a:pt x="11728673" y="807666"/>
                  <a:pt x="11728673" y="811130"/>
                </a:cubicBezTo>
                <a:cubicBezTo>
                  <a:pt x="11728673" y="816643"/>
                  <a:pt x="11739462" y="821402"/>
                  <a:pt x="11750241" y="821402"/>
                </a:cubicBezTo>
                <a:cubicBezTo>
                  <a:pt x="11762434" y="821531"/>
                  <a:pt x="11774896" y="815111"/>
                  <a:pt x="11774896" y="800610"/>
                </a:cubicBezTo>
                <a:cubicBezTo>
                  <a:pt x="11774896" y="777897"/>
                  <a:pt x="11741901" y="781490"/>
                  <a:pt x="11741901" y="766471"/>
                </a:cubicBezTo>
                <a:cubicBezTo>
                  <a:pt x="11741901" y="761335"/>
                  <a:pt x="11745882" y="756199"/>
                  <a:pt x="11753457" y="756199"/>
                </a:cubicBezTo>
                <a:cubicBezTo>
                  <a:pt x="11761290" y="756199"/>
                  <a:pt x="11763340" y="761335"/>
                  <a:pt x="11767322" y="761335"/>
                </a:cubicBezTo>
                <a:cubicBezTo>
                  <a:pt x="11769372" y="761335"/>
                  <a:pt x="11772328" y="760180"/>
                  <a:pt x="11772328" y="756587"/>
                </a:cubicBezTo>
                <a:cubicBezTo>
                  <a:pt x="11772328" y="751452"/>
                  <a:pt x="11763599" y="748506"/>
                  <a:pt x="11754223" y="748506"/>
                </a:cubicBezTo>
                <a:close/>
                <a:moveTo>
                  <a:pt x="11614257" y="748117"/>
                </a:moveTo>
                <a:cubicBezTo>
                  <a:pt x="11607082" y="748117"/>
                  <a:pt x="11602594" y="749272"/>
                  <a:pt x="11599001" y="750167"/>
                </a:cubicBezTo>
                <a:cubicBezTo>
                  <a:pt x="11594383" y="751322"/>
                  <a:pt x="11592721" y="753491"/>
                  <a:pt x="11592721" y="755660"/>
                </a:cubicBezTo>
                <a:cubicBezTo>
                  <a:pt x="11592721" y="816902"/>
                  <a:pt x="11592721" y="816902"/>
                  <a:pt x="11592721" y="816902"/>
                </a:cubicBezTo>
                <a:cubicBezTo>
                  <a:pt x="11592721" y="818952"/>
                  <a:pt x="11593487" y="819071"/>
                  <a:pt x="11595418" y="819071"/>
                </a:cubicBezTo>
                <a:cubicBezTo>
                  <a:pt x="11602216" y="819071"/>
                  <a:pt x="11602216" y="819071"/>
                  <a:pt x="11602216" y="819071"/>
                </a:cubicBezTo>
                <a:cubicBezTo>
                  <a:pt x="11603878" y="819071"/>
                  <a:pt x="11604654" y="818942"/>
                  <a:pt x="11604654" y="816902"/>
                </a:cubicBezTo>
                <a:cubicBezTo>
                  <a:pt x="11604654" y="760774"/>
                  <a:pt x="11604654" y="760774"/>
                  <a:pt x="11604654" y="760774"/>
                </a:cubicBezTo>
                <a:cubicBezTo>
                  <a:pt x="11604654" y="757192"/>
                  <a:pt x="11607471" y="754764"/>
                  <a:pt x="11611452" y="754764"/>
                </a:cubicBezTo>
                <a:cubicBezTo>
                  <a:pt x="11620041" y="754764"/>
                  <a:pt x="11621325" y="761033"/>
                  <a:pt x="11625943" y="761033"/>
                </a:cubicBezTo>
                <a:cubicBezTo>
                  <a:pt x="11629255" y="761162"/>
                  <a:pt x="11631823" y="759112"/>
                  <a:pt x="11631823" y="755152"/>
                </a:cubicBezTo>
                <a:cubicBezTo>
                  <a:pt x="11631823" y="750167"/>
                  <a:pt x="11623623" y="748117"/>
                  <a:pt x="11614257" y="748117"/>
                </a:cubicBezTo>
                <a:close/>
                <a:moveTo>
                  <a:pt x="11553619" y="748117"/>
                </a:moveTo>
                <a:cubicBezTo>
                  <a:pt x="11547609" y="748117"/>
                  <a:pt x="11541221" y="749919"/>
                  <a:pt x="11536236" y="753124"/>
                </a:cubicBezTo>
                <a:cubicBezTo>
                  <a:pt x="11528565" y="758519"/>
                  <a:pt x="11523450" y="768780"/>
                  <a:pt x="11523450" y="784954"/>
                </a:cubicBezTo>
                <a:cubicBezTo>
                  <a:pt x="11523450" y="800998"/>
                  <a:pt x="11528565" y="811270"/>
                  <a:pt x="11536236" y="816654"/>
                </a:cubicBezTo>
                <a:cubicBezTo>
                  <a:pt x="11540962" y="819988"/>
                  <a:pt x="11547490" y="821531"/>
                  <a:pt x="11553619" y="821531"/>
                </a:cubicBezTo>
                <a:cubicBezTo>
                  <a:pt x="11559888" y="821531"/>
                  <a:pt x="11566275" y="819859"/>
                  <a:pt x="11571001" y="816654"/>
                </a:cubicBezTo>
                <a:cubicBezTo>
                  <a:pt x="11578802" y="811259"/>
                  <a:pt x="11583917" y="800998"/>
                  <a:pt x="11583917" y="784954"/>
                </a:cubicBezTo>
                <a:cubicBezTo>
                  <a:pt x="11583917" y="768780"/>
                  <a:pt x="11578802" y="758519"/>
                  <a:pt x="11571001" y="753124"/>
                </a:cubicBezTo>
                <a:cubicBezTo>
                  <a:pt x="11566146" y="749660"/>
                  <a:pt x="11559747" y="748117"/>
                  <a:pt x="11553619" y="748117"/>
                </a:cubicBezTo>
                <a:close/>
                <a:moveTo>
                  <a:pt x="11486031" y="748117"/>
                </a:moveTo>
                <a:cubicBezTo>
                  <a:pt x="11475824" y="748117"/>
                  <a:pt x="11468930" y="750297"/>
                  <a:pt x="11465229" y="751452"/>
                </a:cubicBezTo>
                <a:cubicBezTo>
                  <a:pt x="11460632" y="752994"/>
                  <a:pt x="11459230" y="754656"/>
                  <a:pt x="11459230" y="756965"/>
                </a:cubicBezTo>
                <a:cubicBezTo>
                  <a:pt x="11459230" y="817010"/>
                  <a:pt x="11459230" y="817010"/>
                  <a:pt x="11459230" y="817010"/>
                </a:cubicBezTo>
                <a:cubicBezTo>
                  <a:pt x="11459230" y="819190"/>
                  <a:pt x="11459737" y="819449"/>
                  <a:pt x="11461787" y="819449"/>
                </a:cubicBezTo>
                <a:cubicBezTo>
                  <a:pt x="11468422" y="819449"/>
                  <a:pt x="11468422" y="819449"/>
                  <a:pt x="11468422" y="819449"/>
                </a:cubicBezTo>
                <a:cubicBezTo>
                  <a:pt x="11470332" y="819449"/>
                  <a:pt x="11471228" y="819190"/>
                  <a:pt x="11471228" y="816751"/>
                </a:cubicBezTo>
                <a:cubicBezTo>
                  <a:pt x="11471228" y="761454"/>
                  <a:pt x="11471228" y="761454"/>
                  <a:pt x="11471228" y="761454"/>
                </a:cubicBezTo>
                <a:cubicBezTo>
                  <a:pt x="11471228" y="758497"/>
                  <a:pt x="11476331" y="755422"/>
                  <a:pt x="11485654" y="755422"/>
                </a:cubicBezTo>
                <a:cubicBezTo>
                  <a:pt x="11501223" y="755422"/>
                  <a:pt x="11501223" y="765554"/>
                  <a:pt x="11501223" y="771844"/>
                </a:cubicBezTo>
                <a:cubicBezTo>
                  <a:pt x="11501223" y="816751"/>
                  <a:pt x="11501223" y="816751"/>
                  <a:pt x="11501223" y="816751"/>
                </a:cubicBezTo>
                <a:cubicBezTo>
                  <a:pt x="11501223" y="819190"/>
                  <a:pt x="11501990" y="819449"/>
                  <a:pt x="11504288" y="819449"/>
                </a:cubicBezTo>
                <a:cubicBezTo>
                  <a:pt x="11511690" y="819449"/>
                  <a:pt x="11511690" y="819449"/>
                  <a:pt x="11511690" y="819449"/>
                </a:cubicBezTo>
                <a:cubicBezTo>
                  <a:pt x="11512963" y="819201"/>
                  <a:pt x="11512963" y="817917"/>
                  <a:pt x="11512963" y="816762"/>
                </a:cubicBezTo>
                <a:cubicBezTo>
                  <a:pt x="11512963" y="770312"/>
                  <a:pt x="11512963" y="770312"/>
                  <a:pt x="11512963" y="770312"/>
                </a:cubicBezTo>
                <a:cubicBezTo>
                  <a:pt x="11512963" y="762230"/>
                  <a:pt x="11512704" y="748117"/>
                  <a:pt x="11486031" y="748117"/>
                </a:cubicBezTo>
                <a:close/>
                <a:moveTo>
                  <a:pt x="11389700" y="748117"/>
                </a:moveTo>
                <a:cubicBezTo>
                  <a:pt x="11383539" y="748117"/>
                  <a:pt x="11377249" y="749919"/>
                  <a:pt x="11372242" y="753124"/>
                </a:cubicBezTo>
                <a:cubicBezTo>
                  <a:pt x="11364538" y="758519"/>
                  <a:pt x="11359402" y="768780"/>
                  <a:pt x="11359402" y="784954"/>
                </a:cubicBezTo>
                <a:cubicBezTo>
                  <a:pt x="11359402" y="800998"/>
                  <a:pt x="11364538" y="811270"/>
                  <a:pt x="11372242" y="816654"/>
                </a:cubicBezTo>
                <a:cubicBezTo>
                  <a:pt x="11376990" y="819988"/>
                  <a:pt x="11383539" y="821531"/>
                  <a:pt x="11389700" y="821531"/>
                </a:cubicBezTo>
                <a:cubicBezTo>
                  <a:pt x="11395990" y="821531"/>
                  <a:pt x="11402281" y="819859"/>
                  <a:pt x="11407158" y="816654"/>
                </a:cubicBezTo>
                <a:cubicBezTo>
                  <a:pt x="11414991" y="811259"/>
                  <a:pt x="11420127" y="800998"/>
                  <a:pt x="11420127" y="784954"/>
                </a:cubicBezTo>
                <a:cubicBezTo>
                  <a:pt x="11420127" y="768780"/>
                  <a:pt x="11414991" y="758519"/>
                  <a:pt x="11407158" y="753124"/>
                </a:cubicBezTo>
                <a:cubicBezTo>
                  <a:pt x="11402540" y="749660"/>
                  <a:pt x="11395990" y="748117"/>
                  <a:pt x="11389700" y="748117"/>
                </a:cubicBezTo>
                <a:close/>
                <a:moveTo>
                  <a:pt x="11267473" y="748117"/>
                </a:moveTo>
                <a:cubicBezTo>
                  <a:pt x="11261312" y="748117"/>
                  <a:pt x="11254892" y="749919"/>
                  <a:pt x="11250015" y="753124"/>
                </a:cubicBezTo>
                <a:cubicBezTo>
                  <a:pt x="11242182" y="758519"/>
                  <a:pt x="11237046" y="768780"/>
                  <a:pt x="11237046" y="784954"/>
                </a:cubicBezTo>
                <a:cubicBezTo>
                  <a:pt x="11237046" y="800998"/>
                  <a:pt x="11242182" y="811270"/>
                  <a:pt x="11250015" y="816654"/>
                </a:cubicBezTo>
                <a:cubicBezTo>
                  <a:pt x="11254763" y="819988"/>
                  <a:pt x="11261183" y="821531"/>
                  <a:pt x="11267473" y="821531"/>
                </a:cubicBezTo>
                <a:cubicBezTo>
                  <a:pt x="11273764" y="821531"/>
                  <a:pt x="11279925" y="819859"/>
                  <a:pt x="11284931" y="816654"/>
                </a:cubicBezTo>
                <a:cubicBezTo>
                  <a:pt x="11292635" y="811259"/>
                  <a:pt x="11297771" y="800998"/>
                  <a:pt x="11297771" y="784954"/>
                </a:cubicBezTo>
                <a:cubicBezTo>
                  <a:pt x="11297771" y="768780"/>
                  <a:pt x="11292635" y="758519"/>
                  <a:pt x="11284931" y="753124"/>
                </a:cubicBezTo>
                <a:cubicBezTo>
                  <a:pt x="11279925" y="749660"/>
                  <a:pt x="11273764" y="748117"/>
                  <a:pt x="11267473" y="748117"/>
                </a:cubicBezTo>
                <a:close/>
                <a:moveTo>
                  <a:pt x="11199756" y="748117"/>
                </a:moveTo>
                <a:cubicBezTo>
                  <a:pt x="11189495" y="748117"/>
                  <a:pt x="11182698" y="750297"/>
                  <a:pt x="11178857" y="751452"/>
                </a:cubicBezTo>
                <a:cubicBezTo>
                  <a:pt x="11174368" y="752994"/>
                  <a:pt x="11172825" y="754656"/>
                  <a:pt x="11172825" y="756965"/>
                </a:cubicBezTo>
                <a:cubicBezTo>
                  <a:pt x="11172825" y="817010"/>
                  <a:pt x="11172825" y="817010"/>
                  <a:pt x="11172825" y="817010"/>
                </a:cubicBezTo>
                <a:cubicBezTo>
                  <a:pt x="11172825" y="819190"/>
                  <a:pt x="11173343" y="819449"/>
                  <a:pt x="11175263" y="819449"/>
                </a:cubicBezTo>
                <a:cubicBezTo>
                  <a:pt x="11181932" y="819449"/>
                  <a:pt x="11181932" y="819449"/>
                  <a:pt x="11181932" y="819449"/>
                </a:cubicBezTo>
                <a:cubicBezTo>
                  <a:pt x="11183852" y="819449"/>
                  <a:pt x="11184748" y="819190"/>
                  <a:pt x="11184748" y="816751"/>
                </a:cubicBezTo>
                <a:cubicBezTo>
                  <a:pt x="11184748" y="761454"/>
                  <a:pt x="11184748" y="761454"/>
                  <a:pt x="11184748" y="761454"/>
                </a:cubicBezTo>
                <a:cubicBezTo>
                  <a:pt x="11184748" y="758497"/>
                  <a:pt x="11189873" y="755422"/>
                  <a:pt x="11199238" y="755422"/>
                </a:cubicBezTo>
                <a:cubicBezTo>
                  <a:pt x="11214884" y="755422"/>
                  <a:pt x="11214884" y="765554"/>
                  <a:pt x="11214884" y="771844"/>
                </a:cubicBezTo>
                <a:cubicBezTo>
                  <a:pt x="11214884" y="816751"/>
                  <a:pt x="11214884" y="816751"/>
                  <a:pt x="11214884" y="816751"/>
                </a:cubicBezTo>
                <a:cubicBezTo>
                  <a:pt x="11214884" y="819190"/>
                  <a:pt x="11215650" y="819449"/>
                  <a:pt x="11217959" y="819449"/>
                </a:cubicBezTo>
                <a:cubicBezTo>
                  <a:pt x="11225393" y="819449"/>
                  <a:pt x="11225393" y="819449"/>
                  <a:pt x="11225393" y="819449"/>
                </a:cubicBezTo>
                <a:cubicBezTo>
                  <a:pt x="11226688" y="819201"/>
                  <a:pt x="11226817" y="817917"/>
                  <a:pt x="11226817" y="816762"/>
                </a:cubicBezTo>
                <a:cubicBezTo>
                  <a:pt x="11226817" y="770312"/>
                  <a:pt x="11226817" y="770312"/>
                  <a:pt x="11226817" y="770312"/>
                </a:cubicBezTo>
                <a:cubicBezTo>
                  <a:pt x="11226817" y="762230"/>
                  <a:pt x="11226688" y="748117"/>
                  <a:pt x="11199756" y="748117"/>
                </a:cubicBezTo>
                <a:close/>
                <a:moveTo>
                  <a:pt x="11681273" y="724801"/>
                </a:moveTo>
                <a:cubicBezTo>
                  <a:pt x="11678975" y="724801"/>
                  <a:pt x="11678845" y="725567"/>
                  <a:pt x="11678845" y="727876"/>
                </a:cubicBezTo>
                <a:cubicBezTo>
                  <a:pt x="11678845" y="752250"/>
                  <a:pt x="11678845" y="752250"/>
                  <a:pt x="11678845" y="752250"/>
                </a:cubicBezTo>
                <a:cubicBezTo>
                  <a:pt x="11674626" y="750070"/>
                  <a:pt x="11670537" y="748527"/>
                  <a:pt x="11664279" y="748527"/>
                </a:cubicBezTo>
                <a:cubicBezTo>
                  <a:pt x="11643455" y="748527"/>
                  <a:pt x="11632848" y="768413"/>
                  <a:pt x="11632848" y="784954"/>
                </a:cubicBezTo>
                <a:cubicBezTo>
                  <a:pt x="11632848" y="809587"/>
                  <a:pt x="11646260" y="821510"/>
                  <a:pt x="11666707" y="821510"/>
                </a:cubicBezTo>
                <a:cubicBezTo>
                  <a:pt x="11676547" y="821531"/>
                  <a:pt x="11690477" y="816654"/>
                  <a:pt x="11690477" y="812036"/>
                </a:cubicBezTo>
                <a:cubicBezTo>
                  <a:pt x="11690477" y="727498"/>
                  <a:pt x="11690477" y="727498"/>
                  <a:pt x="11690477" y="727498"/>
                </a:cubicBezTo>
                <a:cubicBezTo>
                  <a:pt x="11690477" y="724930"/>
                  <a:pt x="11689711" y="724801"/>
                  <a:pt x="11687919" y="724801"/>
                </a:cubicBezTo>
                <a:cubicBezTo>
                  <a:pt x="11681273" y="724801"/>
                  <a:pt x="11681273" y="724801"/>
                  <a:pt x="11681273" y="724801"/>
                </a:cubicBezTo>
                <a:close/>
                <a:moveTo>
                  <a:pt x="11786797" y="724552"/>
                </a:moveTo>
                <a:cubicBezTo>
                  <a:pt x="11785384" y="724552"/>
                  <a:pt x="11784607" y="724811"/>
                  <a:pt x="11784607" y="726732"/>
                </a:cubicBezTo>
                <a:cubicBezTo>
                  <a:pt x="11784607" y="817280"/>
                  <a:pt x="11784607" y="817280"/>
                  <a:pt x="11784607" y="817280"/>
                </a:cubicBezTo>
                <a:cubicBezTo>
                  <a:pt x="11784607" y="819071"/>
                  <a:pt x="11784995" y="819330"/>
                  <a:pt x="11786797" y="819330"/>
                </a:cubicBezTo>
                <a:cubicBezTo>
                  <a:pt x="11793864" y="819330"/>
                  <a:pt x="11793864" y="819330"/>
                  <a:pt x="11793864" y="819330"/>
                </a:cubicBezTo>
                <a:cubicBezTo>
                  <a:pt x="11795526" y="819330"/>
                  <a:pt x="11796303" y="819330"/>
                  <a:pt x="11796303" y="817409"/>
                </a:cubicBezTo>
                <a:cubicBezTo>
                  <a:pt x="11796303" y="726473"/>
                  <a:pt x="11796303" y="726473"/>
                  <a:pt x="11796303" y="726473"/>
                </a:cubicBezTo>
                <a:cubicBezTo>
                  <a:pt x="11796303" y="724552"/>
                  <a:pt x="11795407" y="724552"/>
                  <a:pt x="11793864" y="724552"/>
                </a:cubicBezTo>
                <a:cubicBezTo>
                  <a:pt x="11786797" y="724552"/>
                  <a:pt x="11786797" y="724552"/>
                  <a:pt x="11786797" y="724552"/>
                </a:cubicBezTo>
                <a:close/>
                <a:moveTo>
                  <a:pt x="11712617" y="723776"/>
                </a:moveTo>
                <a:cubicBezTo>
                  <a:pt x="11708291" y="723776"/>
                  <a:pt x="11705237" y="726851"/>
                  <a:pt x="11705237" y="730940"/>
                </a:cubicBezTo>
                <a:cubicBezTo>
                  <a:pt x="11705237" y="734781"/>
                  <a:pt x="11707913" y="737975"/>
                  <a:pt x="11712358" y="737975"/>
                </a:cubicBezTo>
                <a:cubicBezTo>
                  <a:pt x="11716933" y="737845"/>
                  <a:pt x="11719739" y="734263"/>
                  <a:pt x="11719609" y="730433"/>
                </a:cubicBezTo>
                <a:cubicBezTo>
                  <a:pt x="11719350" y="726462"/>
                  <a:pt x="11716178" y="723776"/>
                  <a:pt x="11712617" y="723776"/>
                </a:cubicBezTo>
                <a:close/>
                <a:moveTo>
                  <a:pt x="11855021" y="713601"/>
                </a:moveTo>
                <a:lnTo>
                  <a:pt x="11855284" y="713794"/>
                </a:lnTo>
                <a:lnTo>
                  <a:pt x="11855021" y="713860"/>
                </a:lnTo>
                <a:cubicBezTo>
                  <a:pt x="11855021" y="713860"/>
                  <a:pt x="11855021" y="713860"/>
                  <a:pt x="11855021" y="713601"/>
                </a:cubicBezTo>
                <a:close/>
                <a:moveTo>
                  <a:pt x="11847209" y="704235"/>
                </a:moveTo>
                <a:cubicBezTo>
                  <a:pt x="11851428" y="704235"/>
                  <a:pt x="11851428" y="704235"/>
                  <a:pt x="11851428" y="704235"/>
                </a:cubicBezTo>
                <a:cubicBezTo>
                  <a:pt x="11853608" y="704235"/>
                  <a:pt x="11857190" y="704235"/>
                  <a:pt x="11857190" y="707699"/>
                </a:cubicBezTo>
                <a:cubicBezTo>
                  <a:pt x="11857190" y="711162"/>
                  <a:pt x="11853478" y="711162"/>
                  <a:pt x="11851817" y="711162"/>
                </a:cubicBezTo>
                <a:cubicBezTo>
                  <a:pt x="11847209" y="711162"/>
                  <a:pt x="11847209" y="711162"/>
                  <a:pt x="11847209" y="711162"/>
                </a:cubicBezTo>
                <a:close/>
                <a:moveTo>
                  <a:pt x="11843627" y="701020"/>
                </a:moveTo>
                <a:lnTo>
                  <a:pt x="11843627" y="724250"/>
                </a:lnTo>
                <a:cubicBezTo>
                  <a:pt x="11847468" y="724250"/>
                  <a:pt x="11847468" y="724250"/>
                  <a:pt x="11847468" y="724250"/>
                </a:cubicBezTo>
                <a:cubicBezTo>
                  <a:pt x="11847468" y="714367"/>
                  <a:pt x="11847468" y="714367"/>
                  <a:pt x="11847468" y="714367"/>
                </a:cubicBezTo>
                <a:cubicBezTo>
                  <a:pt x="11849648" y="714367"/>
                  <a:pt x="11849648" y="714367"/>
                  <a:pt x="11849648" y="714367"/>
                </a:cubicBezTo>
                <a:cubicBezTo>
                  <a:pt x="11852723" y="714367"/>
                  <a:pt x="11853867" y="715521"/>
                  <a:pt x="11856553" y="720528"/>
                </a:cubicBezTo>
                <a:cubicBezTo>
                  <a:pt x="11858603" y="724121"/>
                  <a:pt x="11858603" y="724121"/>
                  <a:pt x="11858603" y="724121"/>
                </a:cubicBezTo>
                <a:cubicBezTo>
                  <a:pt x="11863081" y="724121"/>
                  <a:pt x="11863081" y="724121"/>
                  <a:pt x="11863081" y="724121"/>
                </a:cubicBezTo>
                <a:cubicBezTo>
                  <a:pt x="11860265" y="719503"/>
                  <a:pt x="11860265" y="719503"/>
                  <a:pt x="11860265" y="719503"/>
                </a:cubicBezTo>
                <a:cubicBezTo>
                  <a:pt x="11858857" y="717258"/>
                  <a:pt x="11857864" y="715942"/>
                  <a:pt x="11857064" y="715107"/>
                </a:cubicBezTo>
                <a:lnTo>
                  <a:pt x="11855284" y="713794"/>
                </a:lnTo>
                <a:lnTo>
                  <a:pt x="11858039" y="713106"/>
                </a:lnTo>
                <a:cubicBezTo>
                  <a:pt x="11860542" y="711860"/>
                  <a:pt x="11861549" y="709333"/>
                  <a:pt x="11861549" y="707310"/>
                </a:cubicBezTo>
                <a:cubicBezTo>
                  <a:pt x="11861549" y="705390"/>
                  <a:pt x="11860653" y="703717"/>
                  <a:pt x="11859370" y="702822"/>
                </a:cubicBezTo>
                <a:cubicBezTo>
                  <a:pt x="11857449" y="701020"/>
                  <a:pt x="11854385" y="701020"/>
                  <a:pt x="11851817" y="701020"/>
                </a:cubicBezTo>
                <a:cubicBezTo>
                  <a:pt x="11843627" y="701020"/>
                  <a:pt x="11843627" y="701020"/>
                  <a:pt x="11843627" y="701020"/>
                </a:cubicBezTo>
                <a:close/>
                <a:moveTo>
                  <a:pt x="11852712" y="694611"/>
                </a:moveTo>
                <a:cubicBezTo>
                  <a:pt x="11862563" y="694611"/>
                  <a:pt x="11870623" y="702563"/>
                  <a:pt x="11870623" y="712446"/>
                </a:cubicBezTo>
                <a:cubicBezTo>
                  <a:pt x="11870623" y="722330"/>
                  <a:pt x="11862693" y="730541"/>
                  <a:pt x="11852712" y="730541"/>
                </a:cubicBezTo>
                <a:cubicBezTo>
                  <a:pt x="11842861" y="730541"/>
                  <a:pt x="11834931" y="722330"/>
                  <a:pt x="11834931" y="712446"/>
                </a:cubicBezTo>
                <a:cubicBezTo>
                  <a:pt x="11834801" y="702563"/>
                  <a:pt x="11842732" y="694611"/>
                  <a:pt x="11852712" y="694611"/>
                </a:cubicBezTo>
                <a:close/>
                <a:moveTo>
                  <a:pt x="11852712" y="690888"/>
                </a:moveTo>
                <a:cubicBezTo>
                  <a:pt x="11840940" y="690888"/>
                  <a:pt x="11831348" y="700513"/>
                  <a:pt x="11831348" y="712446"/>
                </a:cubicBezTo>
                <a:cubicBezTo>
                  <a:pt x="11831348" y="724509"/>
                  <a:pt x="11840940" y="734004"/>
                  <a:pt x="11852712" y="734004"/>
                </a:cubicBezTo>
                <a:cubicBezTo>
                  <a:pt x="11864613" y="734004"/>
                  <a:pt x="11874076" y="724250"/>
                  <a:pt x="11874076" y="712446"/>
                </a:cubicBezTo>
                <a:cubicBezTo>
                  <a:pt x="11874076" y="700642"/>
                  <a:pt x="11864484" y="690888"/>
                  <a:pt x="11852712" y="690888"/>
                </a:cubicBezTo>
                <a:close/>
                <a:moveTo>
                  <a:pt x="11639380" y="551044"/>
                </a:moveTo>
                <a:cubicBezTo>
                  <a:pt x="11639972" y="550996"/>
                  <a:pt x="11640676" y="551284"/>
                  <a:pt x="11641189" y="551862"/>
                </a:cubicBezTo>
                <a:cubicBezTo>
                  <a:pt x="11649011" y="560062"/>
                  <a:pt x="11646325" y="621974"/>
                  <a:pt x="11644652" y="634274"/>
                </a:cubicBezTo>
                <a:cubicBezTo>
                  <a:pt x="11644264" y="637349"/>
                  <a:pt x="11641448" y="639788"/>
                  <a:pt x="11640682" y="633508"/>
                </a:cubicBezTo>
                <a:cubicBezTo>
                  <a:pt x="11639786" y="625567"/>
                  <a:pt x="11635557" y="607235"/>
                  <a:pt x="11634273" y="599671"/>
                </a:cubicBezTo>
                <a:cubicBezTo>
                  <a:pt x="11632859" y="592496"/>
                  <a:pt x="11636841" y="570582"/>
                  <a:pt x="11638243" y="552250"/>
                </a:cubicBezTo>
                <a:cubicBezTo>
                  <a:pt x="11638308" y="551479"/>
                  <a:pt x="11638788" y="551093"/>
                  <a:pt x="11639380" y="551044"/>
                </a:cubicBezTo>
                <a:close/>
                <a:moveTo>
                  <a:pt x="11490639" y="502002"/>
                </a:moveTo>
                <a:cubicBezTo>
                  <a:pt x="11510395" y="504700"/>
                  <a:pt x="11530399" y="505207"/>
                  <a:pt x="11550015" y="504052"/>
                </a:cubicBezTo>
                <a:cubicBezTo>
                  <a:pt x="11553220" y="516223"/>
                  <a:pt x="11552831" y="532116"/>
                  <a:pt x="11548343" y="536605"/>
                </a:cubicBezTo>
                <a:cubicBezTo>
                  <a:pt x="11541157" y="543910"/>
                  <a:pt x="11508722" y="542496"/>
                  <a:pt x="11499486" y="541094"/>
                </a:cubicBezTo>
                <a:cubicBezTo>
                  <a:pt x="11496918" y="540705"/>
                  <a:pt x="11494361" y="540327"/>
                  <a:pt x="11492948" y="533659"/>
                </a:cubicBezTo>
                <a:cubicBezTo>
                  <a:pt x="11491405" y="525837"/>
                  <a:pt x="11491275" y="511486"/>
                  <a:pt x="11490639" y="502002"/>
                </a:cubicBezTo>
                <a:close/>
                <a:moveTo>
                  <a:pt x="11594253" y="498797"/>
                </a:moveTo>
                <a:cubicBezTo>
                  <a:pt x="11599767" y="509048"/>
                  <a:pt x="11600155" y="514950"/>
                  <a:pt x="11598612" y="520075"/>
                </a:cubicBezTo>
                <a:cubicBezTo>
                  <a:pt x="11597069" y="525200"/>
                  <a:pt x="11589894" y="528146"/>
                  <a:pt x="11588351" y="527509"/>
                </a:cubicBezTo>
                <a:cubicBezTo>
                  <a:pt x="11588092" y="516482"/>
                  <a:pt x="11585147" y="508152"/>
                  <a:pt x="11580011" y="500718"/>
                </a:cubicBezTo>
                <a:cubicBezTo>
                  <a:pt x="11584510" y="499952"/>
                  <a:pt x="11589257" y="499315"/>
                  <a:pt x="11594253" y="498797"/>
                </a:cubicBezTo>
                <a:close/>
                <a:moveTo>
                  <a:pt x="11441405" y="491374"/>
                </a:moveTo>
                <a:cubicBezTo>
                  <a:pt x="11447684" y="493295"/>
                  <a:pt x="11454104" y="494967"/>
                  <a:pt x="11460384" y="496499"/>
                </a:cubicBezTo>
                <a:cubicBezTo>
                  <a:pt x="11456025" y="524056"/>
                  <a:pt x="11447436" y="531868"/>
                  <a:pt x="11442948" y="533670"/>
                </a:cubicBezTo>
                <a:cubicBezTo>
                  <a:pt x="11439473" y="535073"/>
                  <a:pt x="11431910" y="535839"/>
                  <a:pt x="11434607" y="527131"/>
                </a:cubicBezTo>
                <a:cubicBezTo>
                  <a:pt x="11437305" y="518413"/>
                  <a:pt x="11439862" y="503545"/>
                  <a:pt x="11441405" y="491374"/>
                </a:cubicBezTo>
                <a:close/>
                <a:moveTo>
                  <a:pt x="11419441" y="484343"/>
                </a:moveTo>
                <a:cubicBezTo>
                  <a:pt x="11421606" y="484488"/>
                  <a:pt x="11425004" y="485801"/>
                  <a:pt x="11431543" y="488299"/>
                </a:cubicBezTo>
                <a:cubicBezTo>
                  <a:pt x="11430647" y="509447"/>
                  <a:pt x="11425263" y="521499"/>
                  <a:pt x="11423202" y="532257"/>
                </a:cubicBezTo>
                <a:cubicBezTo>
                  <a:pt x="11420893" y="543284"/>
                  <a:pt x="11433204" y="545841"/>
                  <a:pt x="11444102" y="543154"/>
                </a:cubicBezTo>
                <a:cubicBezTo>
                  <a:pt x="11454870" y="540468"/>
                  <a:pt x="11465132" y="529181"/>
                  <a:pt x="11469620" y="498549"/>
                </a:cubicBezTo>
                <a:cubicBezTo>
                  <a:pt x="11473850" y="499574"/>
                  <a:pt x="11477313" y="500092"/>
                  <a:pt x="11481672" y="500729"/>
                </a:cubicBezTo>
                <a:cubicBezTo>
                  <a:pt x="11482190" y="532516"/>
                  <a:pt x="11484111" y="539691"/>
                  <a:pt x="11485395" y="542507"/>
                </a:cubicBezTo>
                <a:cubicBezTo>
                  <a:pt x="11487833" y="548398"/>
                  <a:pt x="11493735" y="550330"/>
                  <a:pt x="11498472" y="550707"/>
                </a:cubicBezTo>
                <a:cubicBezTo>
                  <a:pt x="11523353" y="552628"/>
                  <a:pt x="11547458" y="551862"/>
                  <a:pt x="11555917" y="543532"/>
                </a:cubicBezTo>
                <a:cubicBezTo>
                  <a:pt x="11564506" y="535073"/>
                  <a:pt x="11561560" y="514443"/>
                  <a:pt x="11559122" y="503286"/>
                </a:cubicBezTo>
                <a:cubicBezTo>
                  <a:pt x="11563092" y="502898"/>
                  <a:pt x="11566308" y="502520"/>
                  <a:pt x="11570149" y="502002"/>
                </a:cubicBezTo>
                <a:cubicBezTo>
                  <a:pt x="11578360" y="511486"/>
                  <a:pt x="11579385" y="521866"/>
                  <a:pt x="11579385" y="528405"/>
                </a:cubicBezTo>
                <a:cubicBezTo>
                  <a:pt x="11579385" y="535709"/>
                  <a:pt x="11587466" y="539551"/>
                  <a:pt x="11598752" y="531739"/>
                </a:cubicBezTo>
                <a:cubicBezTo>
                  <a:pt x="11609909" y="523916"/>
                  <a:pt x="11608884" y="510202"/>
                  <a:pt x="11602723" y="497772"/>
                </a:cubicBezTo>
                <a:cubicBezTo>
                  <a:pt x="11628371" y="495722"/>
                  <a:pt x="11627086" y="512511"/>
                  <a:pt x="11625673" y="533282"/>
                </a:cubicBezTo>
                <a:cubicBezTo>
                  <a:pt x="11624389" y="553793"/>
                  <a:pt x="11619771" y="582882"/>
                  <a:pt x="11612855" y="586216"/>
                </a:cubicBezTo>
                <a:cubicBezTo>
                  <a:pt x="11605798" y="589162"/>
                  <a:pt x="11594771" y="570323"/>
                  <a:pt x="11537326" y="569427"/>
                </a:cubicBezTo>
                <a:cubicBezTo>
                  <a:pt x="11496551" y="568661"/>
                  <a:pt x="11465261" y="574175"/>
                  <a:pt x="11459488" y="611465"/>
                </a:cubicBezTo>
                <a:cubicBezTo>
                  <a:pt x="11459100" y="614151"/>
                  <a:pt x="11457568" y="613774"/>
                  <a:pt x="11456154" y="612360"/>
                </a:cubicBezTo>
                <a:cubicBezTo>
                  <a:pt x="11444998" y="600189"/>
                  <a:pt x="11434737" y="594676"/>
                  <a:pt x="11418325" y="585191"/>
                </a:cubicBezTo>
                <a:cubicBezTo>
                  <a:pt x="11401785" y="575448"/>
                  <a:pt x="11390757" y="562382"/>
                  <a:pt x="11388707" y="549434"/>
                </a:cubicBezTo>
                <a:cubicBezTo>
                  <a:pt x="11386657" y="536486"/>
                  <a:pt x="11391405" y="519190"/>
                  <a:pt x="11414743" y="487403"/>
                </a:cubicBezTo>
                <a:cubicBezTo>
                  <a:pt x="11416346" y="485224"/>
                  <a:pt x="11417276" y="484199"/>
                  <a:pt x="11419441" y="484343"/>
                </a:cubicBezTo>
                <a:close/>
                <a:moveTo>
                  <a:pt x="11358173" y="469801"/>
                </a:moveTo>
                <a:cubicBezTo>
                  <a:pt x="11352402" y="469752"/>
                  <a:pt x="11342133" y="472433"/>
                  <a:pt x="11346260" y="478275"/>
                </a:cubicBezTo>
                <a:cubicBezTo>
                  <a:pt x="11351763" y="486314"/>
                  <a:pt x="11362639" y="473042"/>
                  <a:pt x="11361744" y="470744"/>
                </a:cubicBezTo>
                <a:cubicBezTo>
                  <a:pt x="11361520" y="470137"/>
                  <a:pt x="11360096" y="469817"/>
                  <a:pt x="11358173" y="469801"/>
                </a:cubicBezTo>
                <a:close/>
                <a:moveTo>
                  <a:pt x="11354455" y="453696"/>
                </a:moveTo>
                <a:cubicBezTo>
                  <a:pt x="11359222" y="452705"/>
                  <a:pt x="11365520" y="456094"/>
                  <a:pt x="11379471" y="464454"/>
                </a:cubicBezTo>
                <a:cubicBezTo>
                  <a:pt x="11402044" y="478167"/>
                  <a:pt x="11408971" y="475351"/>
                  <a:pt x="11401267" y="487522"/>
                </a:cubicBezTo>
                <a:cubicBezTo>
                  <a:pt x="11396519" y="495345"/>
                  <a:pt x="11380486" y="516104"/>
                  <a:pt x="11376515" y="541611"/>
                </a:cubicBezTo>
                <a:cubicBezTo>
                  <a:pt x="11371131" y="534436"/>
                  <a:pt x="11363815" y="516622"/>
                  <a:pt x="11357665" y="511745"/>
                </a:cubicBezTo>
                <a:cubicBezTo>
                  <a:pt x="11345613" y="502261"/>
                  <a:pt x="11335222" y="509566"/>
                  <a:pt x="11330734" y="504052"/>
                </a:cubicBezTo>
                <a:cubicBezTo>
                  <a:pt x="11325727" y="498031"/>
                  <a:pt x="11323677" y="497643"/>
                  <a:pt x="11328166" y="491881"/>
                </a:cubicBezTo>
                <a:cubicBezTo>
                  <a:pt x="11328166" y="491881"/>
                  <a:pt x="11333550" y="484835"/>
                  <a:pt x="11335600" y="481879"/>
                </a:cubicBezTo>
                <a:cubicBezTo>
                  <a:pt x="11337909" y="478804"/>
                  <a:pt x="11337272" y="473031"/>
                  <a:pt x="11338297" y="470604"/>
                </a:cubicBezTo>
                <a:cubicBezTo>
                  <a:pt x="11339193" y="468165"/>
                  <a:pt x="11344707" y="460861"/>
                  <a:pt x="11349972" y="456124"/>
                </a:cubicBezTo>
                <a:cubicBezTo>
                  <a:pt x="11351448" y="454843"/>
                  <a:pt x="11352866" y="454026"/>
                  <a:pt x="11354455" y="453696"/>
                </a:cubicBezTo>
                <a:close/>
                <a:moveTo>
                  <a:pt x="11324025" y="392924"/>
                </a:moveTo>
                <a:cubicBezTo>
                  <a:pt x="11322935" y="393149"/>
                  <a:pt x="11322134" y="395329"/>
                  <a:pt x="11322134" y="400006"/>
                </a:cubicBezTo>
                <a:cubicBezTo>
                  <a:pt x="11322134" y="423463"/>
                  <a:pt x="11332395" y="437555"/>
                  <a:pt x="11335988" y="441536"/>
                </a:cubicBezTo>
                <a:cubicBezTo>
                  <a:pt x="11339452" y="445507"/>
                  <a:pt x="11341114" y="449477"/>
                  <a:pt x="11339193" y="451786"/>
                </a:cubicBezTo>
                <a:cubicBezTo>
                  <a:pt x="11334068" y="457807"/>
                  <a:pt x="11328554" y="464475"/>
                  <a:pt x="11328425" y="467162"/>
                </a:cubicBezTo>
                <a:cubicBezTo>
                  <a:pt x="11328166" y="470107"/>
                  <a:pt x="11328425" y="471521"/>
                  <a:pt x="11327270" y="474855"/>
                </a:cubicBezTo>
                <a:cubicBezTo>
                  <a:pt x="11326116" y="478059"/>
                  <a:pt x="11322016" y="482796"/>
                  <a:pt x="11315477" y="490748"/>
                </a:cubicBezTo>
                <a:cubicBezTo>
                  <a:pt x="11311884" y="495366"/>
                  <a:pt x="11314193" y="500362"/>
                  <a:pt x="11317268" y="503696"/>
                </a:cubicBezTo>
                <a:cubicBezTo>
                  <a:pt x="11320861" y="507796"/>
                  <a:pt x="11323300" y="512544"/>
                  <a:pt x="11327788" y="514594"/>
                </a:cubicBezTo>
                <a:cubicBezTo>
                  <a:pt x="11332406" y="516644"/>
                  <a:pt x="11336506" y="515230"/>
                  <a:pt x="11341890" y="516137"/>
                </a:cubicBezTo>
                <a:cubicBezTo>
                  <a:pt x="11347016" y="517032"/>
                  <a:pt x="11353436" y="520107"/>
                  <a:pt x="11358561" y="529214"/>
                </a:cubicBezTo>
                <a:cubicBezTo>
                  <a:pt x="11365995" y="542539"/>
                  <a:pt x="11373947" y="563310"/>
                  <a:pt x="11388308" y="580476"/>
                </a:cubicBezTo>
                <a:cubicBezTo>
                  <a:pt x="11394717" y="588040"/>
                  <a:pt x="11394717" y="602013"/>
                  <a:pt x="11394717" y="606490"/>
                </a:cubicBezTo>
                <a:cubicBezTo>
                  <a:pt x="11395106" y="646736"/>
                  <a:pt x="11374076" y="684803"/>
                  <a:pt x="11360611" y="709026"/>
                </a:cubicBezTo>
                <a:cubicBezTo>
                  <a:pt x="11357406" y="714669"/>
                  <a:pt x="11358172" y="719406"/>
                  <a:pt x="11362402" y="719406"/>
                </a:cubicBezTo>
                <a:cubicBezTo>
                  <a:pt x="11367279" y="719406"/>
                  <a:pt x="11385481" y="719406"/>
                  <a:pt x="11388567" y="719406"/>
                </a:cubicBezTo>
                <a:cubicBezTo>
                  <a:pt x="11391901" y="719406"/>
                  <a:pt x="11393951" y="715813"/>
                  <a:pt x="11394210" y="711972"/>
                </a:cubicBezTo>
                <a:cubicBezTo>
                  <a:pt x="11396519" y="679030"/>
                  <a:pt x="11415110" y="618661"/>
                  <a:pt x="11429094" y="608411"/>
                </a:cubicBezTo>
                <a:cubicBezTo>
                  <a:pt x="11452561" y="623150"/>
                  <a:pt x="11475900" y="654678"/>
                  <a:pt x="11464484" y="709921"/>
                </a:cubicBezTo>
                <a:cubicBezTo>
                  <a:pt x="11463966" y="712997"/>
                  <a:pt x="11461150" y="719665"/>
                  <a:pt x="11468207" y="719665"/>
                </a:cubicBezTo>
                <a:cubicBezTo>
                  <a:pt x="11468207" y="719665"/>
                  <a:pt x="11488082" y="719665"/>
                  <a:pt x="11490650" y="719665"/>
                </a:cubicBezTo>
                <a:cubicBezTo>
                  <a:pt x="11493595" y="719665"/>
                  <a:pt x="11498343" y="718510"/>
                  <a:pt x="11497954" y="713126"/>
                </a:cubicBezTo>
                <a:cubicBezTo>
                  <a:pt x="11496800" y="691590"/>
                  <a:pt x="11478716" y="646100"/>
                  <a:pt x="11473979" y="619309"/>
                </a:cubicBezTo>
                <a:cubicBezTo>
                  <a:pt x="11471034" y="602390"/>
                  <a:pt x="11484499" y="572147"/>
                  <a:pt x="11535276" y="595345"/>
                </a:cubicBezTo>
                <a:cubicBezTo>
                  <a:pt x="11554773" y="577790"/>
                  <a:pt x="11580421" y="588428"/>
                  <a:pt x="11569383" y="622136"/>
                </a:cubicBezTo>
                <a:cubicBezTo>
                  <a:pt x="11558614" y="655714"/>
                  <a:pt x="11549249" y="670452"/>
                  <a:pt x="11512315" y="709932"/>
                </a:cubicBezTo>
                <a:cubicBezTo>
                  <a:pt x="11508215" y="714550"/>
                  <a:pt x="11507827" y="719417"/>
                  <a:pt x="11514624" y="719417"/>
                </a:cubicBezTo>
                <a:cubicBezTo>
                  <a:pt x="11517958" y="719417"/>
                  <a:pt x="11534888" y="719417"/>
                  <a:pt x="11538351" y="719417"/>
                </a:cubicBezTo>
                <a:cubicBezTo>
                  <a:pt x="11543476" y="719417"/>
                  <a:pt x="11545537" y="717874"/>
                  <a:pt x="11547069" y="713903"/>
                </a:cubicBezTo>
                <a:cubicBezTo>
                  <a:pt x="11548483" y="709673"/>
                  <a:pt x="11565412" y="656102"/>
                  <a:pt x="11598623" y="630983"/>
                </a:cubicBezTo>
                <a:cubicBezTo>
                  <a:pt x="11601191" y="629063"/>
                  <a:pt x="11603371" y="620474"/>
                  <a:pt x="11608496" y="600869"/>
                </a:cubicBezTo>
                <a:cubicBezTo>
                  <a:pt x="11624529" y="622017"/>
                  <a:pt x="11626709" y="660461"/>
                  <a:pt x="11599130" y="710062"/>
                </a:cubicBezTo>
                <a:cubicBezTo>
                  <a:pt x="11596314" y="715316"/>
                  <a:pt x="11597976" y="719287"/>
                  <a:pt x="11601439" y="719287"/>
                </a:cubicBezTo>
                <a:cubicBezTo>
                  <a:pt x="11603360" y="719287"/>
                  <a:pt x="11618368" y="719287"/>
                  <a:pt x="11622857" y="719287"/>
                </a:cubicBezTo>
                <a:cubicBezTo>
                  <a:pt x="11626828" y="719287"/>
                  <a:pt x="11627982" y="717107"/>
                  <a:pt x="11629525" y="711087"/>
                </a:cubicBezTo>
                <a:cubicBezTo>
                  <a:pt x="11631446" y="703653"/>
                  <a:pt x="11632093" y="700060"/>
                  <a:pt x="11634650" y="693014"/>
                </a:cubicBezTo>
                <a:cubicBezTo>
                  <a:pt x="11636193" y="688655"/>
                  <a:pt x="11636830" y="687889"/>
                  <a:pt x="11654018" y="688018"/>
                </a:cubicBezTo>
                <a:cubicBezTo>
                  <a:pt x="11659402" y="688018"/>
                  <a:pt x="11659024" y="685202"/>
                  <a:pt x="11659024" y="680584"/>
                </a:cubicBezTo>
                <a:cubicBezTo>
                  <a:pt x="11659272" y="614151"/>
                  <a:pt x="11659661" y="544687"/>
                  <a:pt x="11654654" y="520852"/>
                </a:cubicBezTo>
                <a:cubicBezTo>
                  <a:pt x="11647727" y="487403"/>
                  <a:pt x="11618617" y="486378"/>
                  <a:pt x="11603360" y="487533"/>
                </a:cubicBezTo>
                <a:cubicBezTo>
                  <a:pt x="11587456" y="488688"/>
                  <a:pt x="11557449" y="493424"/>
                  <a:pt x="11526547" y="493424"/>
                </a:cubicBezTo>
                <a:cubicBezTo>
                  <a:pt x="11484866" y="493424"/>
                  <a:pt x="11437930" y="481631"/>
                  <a:pt x="11402033" y="464842"/>
                </a:cubicBezTo>
                <a:cubicBezTo>
                  <a:pt x="11395753" y="462026"/>
                  <a:pt x="11398958" y="460742"/>
                  <a:pt x="11401644" y="459199"/>
                </a:cubicBezTo>
                <a:cubicBezTo>
                  <a:pt x="11415110" y="451765"/>
                  <a:pt x="11426774" y="445097"/>
                  <a:pt x="11433960" y="433314"/>
                </a:cubicBezTo>
                <a:cubicBezTo>
                  <a:pt x="11439473" y="424348"/>
                  <a:pt x="11437423" y="421521"/>
                  <a:pt x="11431392" y="426398"/>
                </a:cubicBezTo>
                <a:cubicBezTo>
                  <a:pt x="11415110" y="439982"/>
                  <a:pt x="11391890" y="447546"/>
                  <a:pt x="11365995" y="438191"/>
                </a:cubicBezTo>
                <a:cubicBezTo>
                  <a:pt x="11339959" y="428966"/>
                  <a:pt x="11329957" y="403847"/>
                  <a:pt x="11327648" y="397568"/>
                </a:cubicBezTo>
                <a:cubicBezTo>
                  <a:pt x="11326493" y="394428"/>
                  <a:pt x="11325115" y="392699"/>
                  <a:pt x="11324025" y="392924"/>
                </a:cubicBezTo>
                <a:close/>
                <a:moveTo>
                  <a:pt x="11391491" y="334037"/>
                </a:moveTo>
                <a:cubicBezTo>
                  <a:pt x="11410848" y="334037"/>
                  <a:pt x="11426364" y="349790"/>
                  <a:pt x="11426364" y="368996"/>
                </a:cubicBezTo>
                <a:cubicBezTo>
                  <a:pt x="11426364" y="388332"/>
                  <a:pt x="11410848" y="403955"/>
                  <a:pt x="11391491" y="403955"/>
                </a:cubicBezTo>
                <a:cubicBezTo>
                  <a:pt x="11372134" y="403955"/>
                  <a:pt x="11356360" y="388332"/>
                  <a:pt x="11356360" y="368996"/>
                </a:cubicBezTo>
                <a:cubicBezTo>
                  <a:pt x="11356360" y="349542"/>
                  <a:pt x="11372134" y="334037"/>
                  <a:pt x="11391491" y="334037"/>
                </a:cubicBezTo>
                <a:close/>
                <a:moveTo>
                  <a:pt x="11389959" y="321618"/>
                </a:moveTo>
                <a:cubicBezTo>
                  <a:pt x="11360729" y="321618"/>
                  <a:pt x="11337262" y="345442"/>
                  <a:pt x="11337262" y="374510"/>
                </a:cubicBezTo>
                <a:cubicBezTo>
                  <a:pt x="11337262" y="403836"/>
                  <a:pt x="11360978" y="427401"/>
                  <a:pt x="11389959" y="427401"/>
                </a:cubicBezTo>
                <a:cubicBezTo>
                  <a:pt x="11419189" y="427401"/>
                  <a:pt x="11442656" y="403577"/>
                  <a:pt x="11442656" y="374510"/>
                </a:cubicBezTo>
                <a:cubicBezTo>
                  <a:pt x="11442656" y="345183"/>
                  <a:pt x="11419189" y="321618"/>
                  <a:pt x="11389959" y="321618"/>
                </a:cubicBez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close/>
              </a:path>
            </a:pathLst>
          </a:custGeom>
          <a:solidFill>
            <a:srgbClr val="D4D7DC"/>
          </a:solidFill>
        </p:spPr>
        <p:txBody>
          <a:bodyPr wrap="square" tIns="7200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C3EE7D-BC64-44D4-965B-AAAA5C4BD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13792" y="648000"/>
            <a:ext cx="7531408" cy="5562000"/>
          </a:xfrm>
        </p:spPr>
        <p:txBody>
          <a:bodyPr anchor="ctr"/>
          <a:lstStyle>
            <a:lvl1pPr>
              <a:lnSpc>
                <a:spcPct val="12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2E69A22-4168-4C89-915E-68554934A99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000" y="2779200"/>
            <a:ext cx="3041792" cy="3430800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2E73A1B-874D-4A61-944C-6104EF22B9D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F443D6-A23D-4F34-AA8B-D8EEB04C9408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123DF4B-C0EB-448C-B355-2743629DD45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92667E6-AA52-4ED3-B122-113FB4F8CA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E3FA8B5C-51AE-4CBF-B3D5-16E4AB91FC04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3047523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Editoria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9581EB9-E0FA-446E-8021-1547926BE14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custGeom>
            <a:avLst/>
            <a:gdLst>
              <a:gd name="connsiteX0" fmla="*/ 11666200 w 12193200"/>
              <a:gd name="connsiteY0" fmla="*/ 756760 h 6861600"/>
              <a:gd name="connsiteX1" fmla="*/ 11678975 w 12193200"/>
              <a:gd name="connsiteY1" fmla="*/ 761119 h 6861600"/>
              <a:gd name="connsiteX2" fmla="*/ 11678975 w 12193200"/>
              <a:gd name="connsiteY2" fmla="*/ 808195 h 6861600"/>
              <a:gd name="connsiteX3" fmla="*/ 11678845 w 12193200"/>
              <a:gd name="connsiteY3" fmla="*/ 808195 h 6861600"/>
              <a:gd name="connsiteX4" fmla="*/ 11667095 w 12193200"/>
              <a:gd name="connsiteY4" fmla="*/ 813579 h 6861600"/>
              <a:gd name="connsiteX5" fmla="*/ 11644998 w 12193200"/>
              <a:gd name="connsiteY5" fmla="*/ 784080 h 6861600"/>
              <a:gd name="connsiteX6" fmla="*/ 11666200 w 12193200"/>
              <a:gd name="connsiteY6" fmla="*/ 756760 h 6861600"/>
              <a:gd name="connsiteX7" fmla="*/ 11553608 w 12193200"/>
              <a:gd name="connsiteY7" fmla="*/ 755951 h 6861600"/>
              <a:gd name="connsiteX8" fmla="*/ 11565369 w 12193200"/>
              <a:gd name="connsiteY8" fmla="*/ 760439 h 6861600"/>
              <a:gd name="connsiteX9" fmla="*/ 11571638 w 12193200"/>
              <a:gd name="connsiteY9" fmla="*/ 784954 h 6861600"/>
              <a:gd name="connsiteX10" fmla="*/ 11565369 w 12193200"/>
              <a:gd name="connsiteY10" fmla="*/ 809339 h 6861600"/>
              <a:gd name="connsiteX11" fmla="*/ 11553608 w 12193200"/>
              <a:gd name="connsiteY11" fmla="*/ 813698 h 6861600"/>
              <a:gd name="connsiteX12" fmla="*/ 11542106 w 12193200"/>
              <a:gd name="connsiteY12" fmla="*/ 809339 h 6861600"/>
              <a:gd name="connsiteX13" fmla="*/ 11535837 w 12193200"/>
              <a:gd name="connsiteY13" fmla="*/ 784954 h 6861600"/>
              <a:gd name="connsiteX14" fmla="*/ 11542106 w 12193200"/>
              <a:gd name="connsiteY14" fmla="*/ 760439 h 6861600"/>
              <a:gd name="connsiteX15" fmla="*/ 11553608 w 12193200"/>
              <a:gd name="connsiteY15" fmla="*/ 755951 h 6861600"/>
              <a:gd name="connsiteX16" fmla="*/ 11389948 w 12193200"/>
              <a:gd name="connsiteY16" fmla="*/ 755951 h 6861600"/>
              <a:gd name="connsiteX17" fmla="*/ 11401504 w 12193200"/>
              <a:gd name="connsiteY17" fmla="*/ 760439 h 6861600"/>
              <a:gd name="connsiteX18" fmla="*/ 11407795 w 12193200"/>
              <a:gd name="connsiteY18" fmla="*/ 784954 h 6861600"/>
              <a:gd name="connsiteX19" fmla="*/ 11401504 w 12193200"/>
              <a:gd name="connsiteY19" fmla="*/ 809339 h 6861600"/>
              <a:gd name="connsiteX20" fmla="*/ 11389948 w 12193200"/>
              <a:gd name="connsiteY20" fmla="*/ 813698 h 6861600"/>
              <a:gd name="connsiteX21" fmla="*/ 11378133 w 12193200"/>
              <a:gd name="connsiteY21" fmla="*/ 809339 h 6861600"/>
              <a:gd name="connsiteX22" fmla="*/ 11371843 w 12193200"/>
              <a:gd name="connsiteY22" fmla="*/ 784954 h 6861600"/>
              <a:gd name="connsiteX23" fmla="*/ 11378133 w 12193200"/>
              <a:gd name="connsiteY23" fmla="*/ 760439 h 6861600"/>
              <a:gd name="connsiteX24" fmla="*/ 11389948 w 12193200"/>
              <a:gd name="connsiteY24" fmla="*/ 755951 h 6861600"/>
              <a:gd name="connsiteX25" fmla="*/ 11267462 w 12193200"/>
              <a:gd name="connsiteY25" fmla="*/ 755951 h 6861600"/>
              <a:gd name="connsiteX26" fmla="*/ 11279148 w 12193200"/>
              <a:gd name="connsiteY26" fmla="*/ 760439 h 6861600"/>
              <a:gd name="connsiteX27" fmla="*/ 11285438 w 12193200"/>
              <a:gd name="connsiteY27" fmla="*/ 784954 h 6861600"/>
              <a:gd name="connsiteX28" fmla="*/ 11279148 w 12193200"/>
              <a:gd name="connsiteY28" fmla="*/ 809339 h 6861600"/>
              <a:gd name="connsiteX29" fmla="*/ 11267462 w 12193200"/>
              <a:gd name="connsiteY29" fmla="*/ 813698 h 6861600"/>
              <a:gd name="connsiteX30" fmla="*/ 11255907 w 12193200"/>
              <a:gd name="connsiteY30" fmla="*/ 809339 h 6861600"/>
              <a:gd name="connsiteX31" fmla="*/ 11249616 w 12193200"/>
              <a:gd name="connsiteY31" fmla="*/ 784954 h 6861600"/>
              <a:gd name="connsiteX32" fmla="*/ 11255907 w 12193200"/>
              <a:gd name="connsiteY32" fmla="*/ 760439 h 6861600"/>
              <a:gd name="connsiteX33" fmla="*/ 11267462 w 12193200"/>
              <a:gd name="connsiteY33" fmla="*/ 755951 h 6861600"/>
              <a:gd name="connsiteX34" fmla="*/ 11708668 w 12193200"/>
              <a:gd name="connsiteY34" fmla="*/ 750006 h 6861600"/>
              <a:gd name="connsiteX35" fmla="*/ 11706381 w 12193200"/>
              <a:gd name="connsiteY35" fmla="*/ 752433 h 6861600"/>
              <a:gd name="connsiteX36" fmla="*/ 11706381 w 12193200"/>
              <a:gd name="connsiteY36" fmla="*/ 817032 h 6861600"/>
              <a:gd name="connsiteX37" fmla="*/ 11708420 w 12193200"/>
              <a:gd name="connsiteY37" fmla="*/ 819459 h 6861600"/>
              <a:gd name="connsiteX38" fmla="*/ 11715671 w 12193200"/>
              <a:gd name="connsiteY38" fmla="*/ 819459 h 6861600"/>
              <a:gd name="connsiteX39" fmla="*/ 11718206 w 12193200"/>
              <a:gd name="connsiteY39" fmla="*/ 817032 h 6861600"/>
              <a:gd name="connsiteX40" fmla="*/ 11718206 w 12193200"/>
              <a:gd name="connsiteY40" fmla="*/ 752433 h 6861600"/>
              <a:gd name="connsiteX41" fmla="*/ 11715660 w 12193200"/>
              <a:gd name="connsiteY41" fmla="*/ 750006 h 6861600"/>
              <a:gd name="connsiteX42" fmla="*/ 11708668 w 12193200"/>
              <a:gd name="connsiteY42" fmla="*/ 750006 h 6861600"/>
              <a:gd name="connsiteX43" fmla="*/ 11826514 w 12193200"/>
              <a:gd name="connsiteY43" fmla="*/ 749671 h 6861600"/>
              <a:gd name="connsiteX44" fmla="*/ 11822404 w 12193200"/>
              <a:gd name="connsiteY44" fmla="*/ 751851 h 6861600"/>
              <a:gd name="connsiteX45" fmla="*/ 11798623 w 12193200"/>
              <a:gd name="connsiteY45" fmla="*/ 781695 h 6861600"/>
              <a:gd name="connsiteX46" fmla="*/ 11798105 w 12193200"/>
              <a:gd name="connsiteY46" fmla="*/ 782461 h 6861600"/>
              <a:gd name="connsiteX47" fmla="*/ 11798234 w 12193200"/>
              <a:gd name="connsiteY47" fmla="*/ 783227 h 6861600"/>
              <a:gd name="connsiteX48" fmla="*/ 11822145 w 12193200"/>
              <a:gd name="connsiteY48" fmla="*/ 817420 h 6861600"/>
              <a:gd name="connsiteX49" fmla="*/ 11826126 w 12193200"/>
              <a:gd name="connsiteY49" fmla="*/ 819470 h 6861600"/>
              <a:gd name="connsiteX50" fmla="*/ 11835254 w 12193200"/>
              <a:gd name="connsiteY50" fmla="*/ 819470 h 6861600"/>
              <a:gd name="connsiteX51" fmla="*/ 11837175 w 12193200"/>
              <a:gd name="connsiteY51" fmla="*/ 817798 h 6861600"/>
              <a:gd name="connsiteX52" fmla="*/ 11836279 w 12193200"/>
              <a:gd name="connsiteY52" fmla="*/ 816136 h 6861600"/>
              <a:gd name="connsiteX53" fmla="*/ 11810826 w 12193200"/>
              <a:gd name="connsiteY53" fmla="*/ 782450 h 6861600"/>
              <a:gd name="connsiteX54" fmla="*/ 11810567 w 12193200"/>
              <a:gd name="connsiteY54" fmla="*/ 782192 h 6861600"/>
              <a:gd name="connsiteX55" fmla="*/ 11834607 w 12193200"/>
              <a:gd name="connsiteY55" fmla="*/ 753890 h 6861600"/>
              <a:gd name="connsiteX56" fmla="*/ 11835254 w 12193200"/>
              <a:gd name="connsiteY56" fmla="*/ 751203 h 6861600"/>
              <a:gd name="connsiteX57" fmla="*/ 11832816 w 12193200"/>
              <a:gd name="connsiteY57" fmla="*/ 749671 h 6861600"/>
              <a:gd name="connsiteX58" fmla="*/ 11826514 w 12193200"/>
              <a:gd name="connsiteY58" fmla="*/ 749671 h 6861600"/>
              <a:gd name="connsiteX59" fmla="*/ 11301634 w 12193200"/>
              <a:gd name="connsiteY59" fmla="*/ 749671 h 6861600"/>
              <a:gd name="connsiteX60" fmla="*/ 11299832 w 12193200"/>
              <a:gd name="connsiteY60" fmla="*/ 751462 h 6861600"/>
              <a:gd name="connsiteX61" fmla="*/ 11300350 w 12193200"/>
              <a:gd name="connsiteY61" fmla="*/ 753383 h 6861600"/>
              <a:gd name="connsiteX62" fmla="*/ 11324605 w 12193200"/>
              <a:gd name="connsiteY62" fmla="*/ 817399 h 6861600"/>
              <a:gd name="connsiteX63" fmla="*/ 11326785 w 12193200"/>
              <a:gd name="connsiteY63" fmla="*/ 819449 h 6861600"/>
              <a:gd name="connsiteX64" fmla="*/ 11332050 w 12193200"/>
              <a:gd name="connsiteY64" fmla="*/ 819449 h 6861600"/>
              <a:gd name="connsiteX65" fmla="*/ 11334489 w 12193200"/>
              <a:gd name="connsiteY65" fmla="*/ 817399 h 6861600"/>
              <a:gd name="connsiteX66" fmla="*/ 11358108 w 12193200"/>
              <a:gd name="connsiteY66" fmla="*/ 753135 h 6861600"/>
              <a:gd name="connsiteX67" fmla="*/ 11358366 w 12193200"/>
              <a:gd name="connsiteY67" fmla="*/ 751085 h 6861600"/>
              <a:gd name="connsiteX68" fmla="*/ 11356694 w 12193200"/>
              <a:gd name="connsiteY68" fmla="*/ 749671 h 6861600"/>
              <a:gd name="connsiteX69" fmla="*/ 11350015 w 12193200"/>
              <a:gd name="connsiteY69" fmla="*/ 749671 h 6861600"/>
              <a:gd name="connsiteX70" fmla="*/ 11348343 w 12193200"/>
              <a:gd name="connsiteY70" fmla="*/ 751592 h 6861600"/>
              <a:gd name="connsiteX71" fmla="*/ 11330885 w 12193200"/>
              <a:gd name="connsiteY71" fmla="*/ 802908 h 6861600"/>
              <a:gd name="connsiteX72" fmla="*/ 11312920 w 12193200"/>
              <a:gd name="connsiteY72" fmla="*/ 751851 h 6861600"/>
              <a:gd name="connsiteX73" fmla="*/ 11309845 w 12193200"/>
              <a:gd name="connsiteY73" fmla="*/ 749671 h 6861600"/>
              <a:gd name="connsiteX74" fmla="*/ 11301634 w 12193200"/>
              <a:gd name="connsiteY74" fmla="*/ 749671 h 6861600"/>
              <a:gd name="connsiteX75" fmla="*/ 11754223 w 12193200"/>
              <a:gd name="connsiteY75" fmla="*/ 748506 h 6861600"/>
              <a:gd name="connsiteX76" fmla="*/ 11731241 w 12193200"/>
              <a:gd name="connsiteY76" fmla="*/ 767625 h 6861600"/>
              <a:gd name="connsiteX77" fmla="*/ 11749346 w 12193200"/>
              <a:gd name="connsiteY77" fmla="*/ 788417 h 6861600"/>
              <a:gd name="connsiteX78" fmla="*/ 11764236 w 12193200"/>
              <a:gd name="connsiteY78" fmla="*/ 801894 h 6861600"/>
              <a:gd name="connsiteX79" fmla="*/ 11750500 w 12193200"/>
              <a:gd name="connsiteY79" fmla="*/ 813698 h 6861600"/>
              <a:gd name="connsiteX80" fmla="*/ 11733679 w 12193200"/>
              <a:gd name="connsiteY80" fmla="*/ 806641 h 6861600"/>
              <a:gd name="connsiteX81" fmla="*/ 11728673 w 12193200"/>
              <a:gd name="connsiteY81" fmla="*/ 811130 h 6861600"/>
              <a:gd name="connsiteX82" fmla="*/ 11750241 w 12193200"/>
              <a:gd name="connsiteY82" fmla="*/ 821402 h 6861600"/>
              <a:gd name="connsiteX83" fmla="*/ 11774896 w 12193200"/>
              <a:gd name="connsiteY83" fmla="*/ 800610 h 6861600"/>
              <a:gd name="connsiteX84" fmla="*/ 11741901 w 12193200"/>
              <a:gd name="connsiteY84" fmla="*/ 766471 h 6861600"/>
              <a:gd name="connsiteX85" fmla="*/ 11753457 w 12193200"/>
              <a:gd name="connsiteY85" fmla="*/ 756199 h 6861600"/>
              <a:gd name="connsiteX86" fmla="*/ 11767322 w 12193200"/>
              <a:gd name="connsiteY86" fmla="*/ 761335 h 6861600"/>
              <a:gd name="connsiteX87" fmla="*/ 11772328 w 12193200"/>
              <a:gd name="connsiteY87" fmla="*/ 756587 h 6861600"/>
              <a:gd name="connsiteX88" fmla="*/ 11754223 w 12193200"/>
              <a:gd name="connsiteY88" fmla="*/ 748506 h 6861600"/>
              <a:gd name="connsiteX89" fmla="*/ 11614257 w 12193200"/>
              <a:gd name="connsiteY89" fmla="*/ 748117 h 6861600"/>
              <a:gd name="connsiteX90" fmla="*/ 11599001 w 12193200"/>
              <a:gd name="connsiteY90" fmla="*/ 750167 h 6861600"/>
              <a:gd name="connsiteX91" fmla="*/ 11592721 w 12193200"/>
              <a:gd name="connsiteY91" fmla="*/ 755660 h 6861600"/>
              <a:gd name="connsiteX92" fmla="*/ 11592721 w 12193200"/>
              <a:gd name="connsiteY92" fmla="*/ 816902 h 6861600"/>
              <a:gd name="connsiteX93" fmla="*/ 11595418 w 12193200"/>
              <a:gd name="connsiteY93" fmla="*/ 819071 h 6861600"/>
              <a:gd name="connsiteX94" fmla="*/ 11602216 w 12193200"/>
              <a:gd name="connsiteY94" fmla="*/ 819071 h 6861600"/>
              <a:gd name="connsiteX95" fmla="*/ 11604654 w 12193200"/>
              <a:gd name="connsiteY95" fmla="*/ 816902 h 6861600"/>
              <a:gd name="connsiteX96" fmla="*/ 11604654 w 12193200"/>
              <a:gd name="connsiteY96" fmla="*/ 760774 h 6861600"/>
              <a:gd name="connsiteX97" fmla="*/ 11611452 w 12193200"/>
              <a:gd name="connsiteY97" fmla="*/ 754764 h 6861600"/>
              <a:gd name="connsiteX98" fmla="*/ 11625943 w 12193200"/>
              <a:gd name="connsiteY98" fmla="*/ 761033 h 6861600"/>
              <a:gd name="connsiteX99" fmla="*/ 11631823 w 12193200"/>
              <a:gd name="connsiteY99" fmla="*/ 755152 h 6861600"/>
              <a:gd name="connsiteX100" fmla="*/ 11614257 w 12193200"/>
              <a:gd name="connsiteY100" fmla="*/ 748117 h 6861600"/>
              <a:gd name="connsiteX101" fmla="*/ 11553619 w 12193200"/>
              <a:gd name="connsiteY101" fmla="*/ 748117 h 6861600"/>
              <a:gd name="connsiteX102" fmla="*/ 11536236 w 12193200"/>
              <a:gd name="connsiteY102" fmla="*/ 753124 h 6861600"/>
              <a:gd name="connsiteX103" fmla="*/ 11523450 w 12193200"/>
              <a:gd name="connsiteY103" fmla="*/ 784954 h 6861600"/>
              <a:gd name="connsiteX104" fmla="*/ 11536236 w 12193200"/>
              <a:gd name="connsiteY104" fmla="*/ 816654 h 6861600"/>
              <a:gd name="connsiteX105" fmla="*/ 11553619 w 12193200"/>
              <a:gd name="connsiteY105" fmla="*/ 821531 h 6861600"/>
              <a:gd name="connsiteX106" fmla="*/ 11571001 w 12193200"/>
              <a:gd name="connsiteY106" fmla="*/ 816654 h 6861600"/>
              <a:gd name="connsiteX107" fmla="*/ 11583917 w 12193200"/>
              <a:gd name="connsiteY107" fmla="*/ 784954 h 6861600"/>
              <a:gd name="connsiteX108" fmla="*/ 11571001 w 12193200"/>
              <a:gd name="connsiteY108" fmla="*/ 753124 h 6861600"/>
              <a:gd name="connsiteX109" fmla="*/ 11553619 w 12193200"/>
              <a:gd name="connsiteY109" fmla="*/ 748117 h 6861600"/>
              <a:gd name="connsiteX110" fmla="*/ 11486031 w 12193200"/>
              <a:gd name="connsiteY110" fmla="*/ 748117 h 6861600"/>
              <a:gd name="connsiteX111" fmla="*/ 11465229 w 12193200"/>
              <a:gd name="connsiteY111" fmla="*/ 751452 h 6861600"/>
              <a:gd name="connsiteX112" fmla="*/ 11459230 w 12193200"/>
              <a:gd name="connsiteY112" fmla="*/ 756965 h 6861600"/>
              <a:gd name="connsiteX113" fmla="*/ 11459230 w 12193200"/>
              <a:gd name="connsiteY113" fmla="*/ 817010 h 6861600"/>
              <a:gd name="connsiteX114" fmla="*/ 11461787 w 12193200"/>
              <a:gd name="connsiteY114" fmla="*/ 819449 h 6861600"/>
              <a:gd name="connsiteX115" fmla="*/ 11468422 w 12193200"/>
              <a:gd name="connsiteY115" fmla="*/ 819449 h 6861600"/>
              <a:gd name="connsiteX116" fmla="*/ 11471228 w 12193200"/>
              <a:gd name="connsiteY116" fmla="*/ 816751 h 6861600"/>
              <a:gd name="connsiteX117" fmla="*/ 11471228 w 12193200"/>
              <a:gd name="connsiteY117" fmla="*/ 761454 h 6861600"/>
              <a:gd name="connsiteX118" fmla="*/ 11485654 w 12193200"/>
              <a:gd name="connsiteY118" fmla="*/ 755422 h 6861600"/>
              <a:gd name="connsiteX119" fmla="*/ 11501223 w 12193200"/>
              <a:gd name="connsiteY119" fmla="*/ 771844 h 6861600"/>
              <a:gd name="connsiteX120" fmla="*/ 11501223 w 12193200"/>
              <a:gd name="connsiteY120" fmla="*/ 816751 h 6861600"/>
              <a:gd name="connsiteX121" fmla="*/ 11504288 w 12193200"/>
              <a:gd name="connsiteY121" fmla="*/ 819449 h 6861600"/>
              <a:gd name="connsiteX122" fmla="*/ 11511690 w 12193200"/>
              <a:gd name="connsiteY122" fmla="*/ 819449 h 6861600"/>
              <a:gd name="connsiteX123" fmla="*/ 11512963 w 12193200"/>
              <a:gd name="connsiteY123" fmla="*/ 816762 h 6861600"/>
              <a:gd name="connsiteX124" fmla="*/ 11512963 w 12193200"/>
              <a:gd name="connsiteY124" fmla="*/ 770312 h 6861600"/>
              <a:gd name="connsiteX125" fmla="*/ 11486031 w 12193200"/>
              <a:gd name="connsiteY125" fmla="*/ 748117 h 6861600"/>
              <a:gd name="connsiteX126" fmla="*/ 11389700 w 12193200"/>
              <a:gd name="connsiteY126" fmla="*/ 748117 h 6861600"/>
              <a:gd name="connsiteX127" fmla="*/ 11372242 w 12193200"/>
              <a:gd name="connsiteY127" fmla="*/ 753124 h 6861600"/>
              <a:gd name="connsiteX128" fmla="*/ 11359402 w 12193200"/>
              <a:gd name="connsiteY128" fmla="*/ 784954 h 6861600"/>
              <a:gd name="connsiteX129" fmla="*/ 11372242 w 12193200"/>
              <a:gd name="connsiteY129" fmla="*/ 816654 h 6861600"/>
              <a:gd name="connsiteX130" fmla="*/ 11389700 w 12193200"/>
              <a:gd name="connsiteY130" fmla="*/ 821531 h 6861600"/>
              <a:gd name="connsiteX131" fmla="*/ 11407158 w 12193200"/>
              <a:gd name="connsiteY131" fmla="*/ 816654 h 6861600"/>
              <a:gd name="connsiteX132" fmla="*/ 11420127 w 12193200"/>
              <a:gd name="connsiteY132" fmla="*/ 784954 h 6861600"/>
              <a:gd name="connsiteX133" fmla="*/ 11407158 w 12193200"/>
              <a:gd name="connsiteY133" fmla="*/ 753124 h 6861600"/>
              <a:gd name="connsiteX134" fmla="*/ 11389700 w 12193200"/>
              <a:gd name="connsiteY134" fmla="*/ 748117 h 6861600"/>
              <a:gd name="connsiteX135" fmla="*/ 11267473 w 12193200"/>
              <a:gd name="connsiteY135" fmla="*/ 748117 h 6861600"/>
              <a:gd name="connsiteX136" fmla="*/ 11250015 w 12193200"/>
              <a:gd name="connsiteY136" fmla="*/ 753124 h 6861600"/>
              <a:gd name="connsiteX137" fmla="*/ 11237046 w 12193200"/>
              <a:gd name="connsiteY137" fmla="*/ 784954 h 6861600"/>
              <a:gd name="connsiteX138" fmla="*/ 11250015 w 12193200"/>
              <a:gd name="connsiteY138" fmla="*/ 816654 h 6861600"/>
              <a:gd name="connsiteX139" fmla="*/ 11267473 w 12193200"/>
              <a:gd name="connsiteY139" fmla="*/ 821531 h 6861600"/>
              <a:gd name="connsiteX140" fmla="*/ 11284931 w 12193200"/>
              <a:gd name="connsiteY140" fmla="*/ 816654 h 6861600"/>
              <a:gd name="connsiteX141" fmla="*/ 11297771 w 12193200"/>
              <a:gd name="connsiteY141" fmla="*/ 784954 h 6861600"/>
              <a:gd name="connsiteX142" fmla="*/ 11284931 w 12193200"/>
              <a:gd name="connsiteY142" fmla="*/ 753124 h 6861600"/>
              <a:gd name="connsiteX143" fmla="*/ 11267473 w 12193200"/>
              <a:gd name="connsiteY143" fmla="*/ 748117 h 6861600"/>
              <a:gd name="connsiteX144" fmla="*/ 11199756 w 12193200"/>
              <a:gd name="connsiteY144" fmla="*/ 748117 h 6861600"/>
              <a:gd name="connsiteX145" fmla="*/ 11178857 w 12193200"/>
              <a:gd name="connsiteY145" fmla="*/ 751452 h 6861600"/>
              <a:gd name="connsiteX146" fmla="*/ 11172825 w 12193200"/>
              <a:gd name="connsiteY146" fmla="*/ 756965 h 6861600"/>
              <a:gd name="connsiteX147" fmla="*/ 11172825 w 12193200"/>
              <a:gd name="connsiteY147" fmla="*/ 817010 h 6861600"/>
              <a:gd name="connsiteX148" fmla="*/ 11175263 w 12193200"/>
              <a:gd name="connsiteY148" fmla="*/ 819449 h 6861600"/>
              <a:gd name="connsiteX149" fmla="*/ 11181932 w 12193200"/>
              <a:gd name="connsiteY149" fmla="*/ 819449 h 6861600"/>
              <a:gd name="connsiteX150" fmla="*/ 11184748 w 12193200"/>
              <a:gd name="connsiteY150" fmla="*/ 816751 h 6861600"/>
              <a:gd name="connsiteX151" fmla="*/ 11184748 w 12193200"/>
              <a:gd name="connsiteY151" fmla="*/ 761454 h 6861600"/>
              <a:gd name="connsiteX152" fmla="*/ 11199238 w 12193200"/>
              <a:gd name="connsiteY152" fmla="*/ 755422 h 6861600"/>
              <a:gd name="connsiteX153" fmla="*/ 11214884 w 12193200"/>
              <a:gd name="connsiteY153" fmla="*/ 771844 h 6861600"/>
              <a:gd name="connsiteX154" fmla="*/ 11214884 w 12193200"/>
              <a:gd name="connsiteY154" fmla="*/ 816751 h 6861600"/>
              <a:gd name="connsiteX155" fmla="*/ 11217959 w 12193200"/>
              <a:gd name="connsiteY155" fmla="*/ 819449 h 6861600"/>
              <a:gd name="connsiteX156" fmla="*/ 11225393 w 12193200"/>
              <a:gd name="connsiteY156" fmla="*/ 819449 h 6861600"/>
              <a:gd name="connsiteX157" fmla="*/ 11226817 w 12193200"/>
              <a:gd name="connsiteY157" fmla="*/ 816762 h 6861600"/>
              <a:gd name="connsiteX158" fmla="*/ 11226817 w 12193200"/>
              <a:gd name="connsiteY158" fmla="*/ 770312 h 6861600"/>
              <a:gd name="connsiteX159" fmla="*/ 11199756 w 12193200"/>
              <a:gd name="connsiteY159" fmla="*/ 748117 h 6861600"/>
              <a:gd name="connsiteX160" fmla="*/ 11681273 w 12193200"/>
              <a:gd name="connsiteY160" fmla="*/ 724801 h 6861600"/>
              <a:gd name="connsiteX161" fmla="*/ 11678845 w 12193200"/>
              <a:gd name="connsiteY161" fmla="*/ 727876 h 6861600"/>
              <a:gd name="connsiteX162" fmla="*/ 11678845 w 12193200"/>
              <a:gd name="connsiteY162" fmla="*/ 752250 h 6861600"/>
              <a:gd name="connsiteX163" fmla="*/ 11664279 w 12193200"/>
              <a:gd name="connsiteY163" fmla="*/ 748527 h 6861600"/>
              <a:gd name="connsiteX164" fmla="*/ 11632848 w 12193200"/>
              <a:gd name="connsiteY164" fmla="*/ 784954 h 6861600"/>
              <a:gd name="connsiteX165" fmla="*/ 11666707 w 12193200"/>
              <a:gd name="connsiteY165" fmla="*/ 821510 h 6861600"/>
              <a:gd name="connsiteX166" fmla="*/ 11690477 w 12193200"/>
              <a:gd name="connsiteY166" fmla="*/ 812036 h 6861600"/>
              <a:gd name="connsiteX167" fmla="*/ 11690477 w 12193200"/>
              <a:gd name="connsiteY167" fmla="*/ 727498 h 6861600"/>
              <a:gd name="connsiteX168" fmla="*/ 11687919 w 12193200"/>
              <a:gd name="connsiteY168" fmla="*/ 724801 h 6861600"/>
              <a:gd name="connsiteX169" fmla="*/ 11681273 w 12193200"/>
              <a:gd name="connsiteY169" fmla="*/ 724801 h 6861600"/>
              <a:gd name="connsiteX170" fmla="*/ 11786797 w 12193200"/>
              <a:gd name="connsiteY170" fmla="*/ 724552 h 6861600"/>
              <a:gd name="connsiteX171" fmla="*/ 11784607 w 12193200"/>
              <a:gd name="connsiteY171" fmla="*/ 726732 h 6861600"/>
              <a:gd name="connsiteX172" fmla="*/ 11784607 w 12193200"/>
              <a:gd name="connsiteY172" fmla="*/ 817280 h 6861600"/>
              <a:gd name="connsiteX173" fmla="*/ 11786797 w 12193200"/>
              <a:gd name="connsiteY173" fmla="*/ 819330 h 6861600"/>
              <a:gd name="connsiteX174" fmla="*/ 11793864 w 12193200"/>
              <a:gd name="connsiteY174" fmla="*/ 819330 h 6861600"/>
              <a:gd name="connsiteX175" fmla="*/ 11796303 w 12193200"/>
              <a:gd name="connsiteY175" fmla="*/ 817409 h 6861600"/>
              <a:gd name="connsiteX176" fmla="*/ 11796303 w 12193200"/>
              <a:gd name="connsiteY176" fmla="*/ 726473 h 6861600"/>
              <a:gd name="connsiteX177" fmla="*/ 11793864 w 12193200"/>
              <a:gd name="connsiteY177" fmla="*/ 724552 h 6861600"/>
              <a:gd name="connsiteX178" fmla="*/ 11786797 w 12193200"/>
              <a:gd name="connsiteY178" fmla="*/ 724552 h 6861600"/>
              <a:gd name="connsiteX179" fmla="*/ 11712617 w 12193200"/>
              <a:gd name="connsiteY179" fmla="*/ 723776 h 6861600"/>
              <a:gd name="connsiteX180" fmla="*/ 11705237 w 12193200"/>
              <a:gd name="connsiteY180" fmla="*/ 730940 h 6861600"/>
              <a:gd name="connsiteX181" fmla="*/ 11712358 w 12193200"/>
              <a:gd name="connsiteY181" fmla="*/ 737975 h 6861600"/>
              <a:gd name="connsiteX182" fmla="*/ 11719609 w 12193200"/>
              <a:gd name="connsiteY182" fmla="*/ 730433 h 6861600"/>
              <a:gd name="connsiteX183" fmla="*/ 11712617 w 12193200"/>
              <a:gd name="connsiteY183" fmla="*/ 723776 h 6861600"/>
              <a:gd name="connsiteX184" fmla="*/ 11855021 w 12193200"/>
              <a:gd name="connsiteY184" fmla="*/ 713601 h 6861600"/>
              <a:gd name="connsiteX185" fmla="*/ 11855284 w 12193200"/>
              <a:gd name="connsiteY185" fmla="*/ 713794 h 6861600"/>
              <a:gd name="connsiteX186" fmla="*/ 11855021 w 12193200"/>
              <a:gd name="connsiteY186" fmla="*/ 713860 h 6861600"/>
              <a:gd name="connsiteX187" fmla="*/ 11855021 w 12193200"/>
              <a:gd name="connsiteY187" fmla="*/ 713601 h 6861600"/>
              <a:gd name="connsiteX188" fmla="*/ 11847209 w 12193200"/>
              <a:gd name="connsiteY188" fmla="*/ 704235 h 6861600"/>
              <a:gd name="connsiteX189" fmla="*/ 11851428 w 12193200"/>
              <a:gd name="connsiteY189" fmla="*/ 704235 h 6861600"/>
              <a:gd name="connsiteX190" fmla="*/ 11857190 w 12193200"/>
              <a:gd name="connsiteY190" fmla="*/ 707699 h 6861600"/>
              <a:gd name="connsiteX191" fmla="*/ 11851817 w 12193200"/>
              <a:gd name="connsiteY191" fmla="*/ 711162 h 6861600"/>
              <a:gd name="connsiteX192" fmla="*/ 11847209 w 12193200"/>
              <a:gd name="connsiteY192" fmla="*/ 711162 h 6861600"/>
              <a:gd name="connsiteX193" fmla="*/ 11843627 w 12193200"/>
              <a:gd name="connsiteY193" fmla="*/ 701020 h 6861600"/>
              <a:gd name="connsiteX194" fmla="*/ 11843627 w 12193200"/>
              <a:gd name="connsiteY194" fmla="*/ 724250 h 6861600"/>
              <a:gd name="connsiteX195" fmla="*/ 11847468 w 12193200"/>
              <a:gd name="connsiteY195" fmla="*/ 724250 h 6861600"/>
              <a:gd name="connsiteX196" fmla="*/ 11847468 w 12193200"/>
              <a:gd name="connsiteY196" fmla="*/ 714367 h 6861600"/>
              <a:gd name="connsiteX197" fmla="*/ 11849648 w 12193200"/>
              <a:gd name="connsiteY197" fmla="*/ 714367 h 6861600"/>
              <a:gd name="connsiteX198" fmla="*/ 11856553 w 12193200"/>
              <a:gd name="connsiteY198" fmla="*/ 720528 h 6861600"/>
              <a:gd name="connsiteX199" fmla="*/ 11858603 w 12193200"/>
              <a:gd name="connsiteY199" fmla="*/ 724121 h 6861600"/>
              <a:gd name="connsiteX200" fmla="*/ 11863081 w 12193200"/>
              <a:gd name="connsiteY200" fmla="*/ 724121 h 6861600"/>
              <a:gd name="connsiteX201" fmla="*/ 11860265 w 12193200"/>
              <a:gd name="connsiteY201" fmla="*/ 719503 h 6861600"/>
              <a:gd name="connsiteX202" fmla="*/ 11857064 w 12193200"/>
              <a:gd name="connsiteY202" fmla="*/ 715107 h 6861600"/>
              <a:gd name="connsiteX203" fmla="*/ 11855284 w 12193200"/>
              <a:gd name="connsiteY203" fmla="*/ 713794 h 6861600"/>
              <a:gd name="connsiteX204" fmla="*/ 11858039 w 12193200"/>
              <a:gd name="connsiteY204" fmla="*/ 713106 h 6861600"/>
              <a:gd name="connsiteX205" fmla="*/ 11861549 w 12193200"/>
              <a:gd name="connsiteY205" fmla="*/ 707310 h 6861600"/>
              <a:gd name="connsiteX206" fmla="*/ 11859370 w 12193200"/>
              <a:gd name="connsiteY206" fmla="*/ 702822 h 6861600"/>
              <a:gd name="connsiteX207" fmla="*/ 11851817 w 12193200"/>
              <a:gd name="connsiteY207" fmla="*/ 701020 h 6861600"/>
              <a:gd name="connsiteX208" fmla="*/ 11843627 w 12193200"/>
              <a:gd name="connsiteY208" fmla="*/ 701020 h 6861600"/>
              <a:gd name="connsiteX209" fmla="*/ 11852712 w 12193200"/>
              <a:gd name="connsiteY209" fmla="*/ 694611 h 6861600"/>
              <a:gd name="connsiteX210" fmla="*/ 11870623 w 12193200"/>
              <a:gd name="connsiteY210" fmla="*/ 712446 h 6861600"/>
              <a:gd name="connsiteX211" fmla="*/ 11852712 w 12193200"/>
              <a:gd name="connsiteY211" fmla="*/ 730541 h 6861600"/>
              <a:gd name="connsiteX212" fmla="*/ 11834931 w 12193200"/>
              <a:gd name="connsiteY212" fmla="*/ 712446 h 6861600"/>
              <a:gd name="connsiteX213" fmla="*/ 11852712 w 12193200"/>
              <a:gd name="connsiteY213" fmla="*/ 694611 h 6861600"/>
              <a:gd name="connsiteX214" fmla="*/ 11852712 w 12193200"/>
              <a:gd name="connsiteY214" fmla="*/ 690888 h 6861600"/>
              <a:gd name="connsiteX215" fmla="*/ 11831348 w 12193200"/>
              <a:gd name="connsiteY215" fmla="*/ 712446 h 6861600"/>
              <a:gd name="connsiteX216" fmla="*/ 11852712 w 12193200"/>
              <a:gd name="connsiteY216" fmla="*/ 734004 h 6861600"/>
              <a:gd name="connsiteX217" fmla="*/ 11874076 w 12193200"/>
              <a:gd name="connsiteY217" fmla="*/ 712446 h 6861600"/>
              <a:gd name="connsiteX218" fmla="*/ 11852712 w 12193200"/>
              <a:gd name="connsiteY218" fmla="*/ 690888 h 6861600"/>
              <a:gd name="connsiteX219" fmla="*/ 11639380 w 12193200"/>
              <a:gd name="connsiteY219" fmla="*/ 551044 h 6861600"/>
              <a:gd name="connsiteX220" fmla="*/ 11641189 w 12193200"/>
              <a:gd name="connsiteY220" fmla="*/ 551862 h 6861600"/>
              <a:gd name="connsiteX221" fmla="*/ 11644652 w 12193200"/>
              <a:gd name="connsiteY221" fmla="*/ 634274 h 6861600"/>
              <a:gd name="connsiteX222" fmla="*/ 11640682 w 12193200"/>
              <a:gd name="connsiteY222" fmla="*/ 633508 h 6861600"/>
              <a:gd name="connsiteX223" fmla="*/ 11634273 w 12193200"/>
              <a:gd name="connsiteY223" fmla="*/ 599671 h 6861600"/>
              <a:gd name="connsiteX224" fmla="*/ 11638243 w 12193200"/>
              <a:gd name="connsiteY224" fmla="*/ 552250 h 6861600"/>
              <a:gd name="connsiteX225" fmla="*/ 11639380 w 12193200"/>
              <a:gd name="connsiteY225" fmla="*/ 551044 h 6861600"/>
              <a:gd name="connsiteX226" fmla="*/ 11490639 w 12193200"/>
              <a:gd name="connsiteY226" fmla="*/ 502002 h 6861600"/>
              <a:gd name="connsiteX227" fmla="*/ 11550015 w 12193200"/>
              <a:gd name="connsiteY227" fmla="*/ 504052 h 6861600"/>
              <a:gd name="connsiteX228" fmla="*/ 11548343 w 12193200"/>
              <a:gd name="connsiteY228" fmla="*/ 536605 h 6861600"/>
              <a:gd name="connsiteX229" fmla="*/ 11499486 w 12193200"/>
              <a:gd name="connsiteY229" fmla="*/ 541094 h 6861600"/>
              <a:gd name="connsiteX230" fmla="*/ 11492948 w 12193200"/>
              <a:gd name="connsiteY230" fmla="*/ 533659 h 6861600"/>
              <a:gd name="connsiteX231" fmla="*/ 11490639 w 12193200"/>
              <a:gd name="connsiteY231" fmla="*/ 502002 h 6861600"/>
              <a:gd name="connsiteX232" fmla="*/ 11594253 w 12193200"/>
              <a:gd name="connsiteY232" fmla="*/ 498797 h 6861600"/>
              <a:gd name="connsiteX233" fmla="*/ 11598612 w 12193200"/>
              <a:gd name="connsiteY233" fmla="*/ 520075 h 6861600"/>
              <a:gd name="connsiteX234" fmla="*/ 11588351 w 12193200"/>
              <a:gd name="connsiteY234" fmla="*/ 527509 h 6861600"/>
              <a:gd name="connsiteX235" fmla="*/ 11580011 w 12193200"/>
              <a:gd name="connsiteY235" fmla="*/ 500718 h 6861600"/>
              <a:gd name="connsiteX236" fmla="*/ 11594253 w 12193200"/>
              <a:gd name="connsiteY236" fmla="*/ 498797 h 6861600"/>
              <a:gd name="connsiteX237" fmla="*/ 11441405 w 12193200"/>
              <a:gd name="connsiteY237" fmla="*/ 491374 h 6861600"/>
              <a:gd name="connsiteX238" fmla="*/ 11460384 w 12193200"/>
              <a:gd name="connsiteY238" fmla="*/ 496499 h 6861600"/>
              <a:gd name="connsiteX239" fmla="*/ 11442948 w 12193200"/>
              <a:gd name="connsiteY239" fmla="*/ 533670 h 6861600"/>
              <a:gd name="connsiteX240" fmla="*/ 11434607 w 12193200"/>
              <a:gd name="connsiteY240" fmla="*/ 527131 h 6861600"/>
              <a:gd name="connsiteX241" fmla="*/ 11441405 w 12193200"/>
              <a:gd name="connsiteY241" fmla="*/ 491374 h 6861600"/>
              <a:gd name="connsiteX242" fmla="*/ 11419441 w 12193200"/>
              <a:gd name="connsiteY242" fmla="*/ 484343 h 6861600"/>
              <a:gd name="connsiteX243" fmla="*/ 11431543 w 12193200"/>
              <a:gd name="connsiteY243" fmla="*/ 488299 h 6861600"/>
              <a:gd name="connsiteX244" fmla="*/ 11423202 w 12193200"/>
              <a:gd name="connsiteY244" fmla="*/ 532257 h 6861600"/>
              <a:gd name="connsiteX245" fmla="*/ 11444102 w 12193200"/>
              <a:gd name="connsiteY245" fmla="*/ 543154 h 6861600"/>
              <a:gd name="connsiteX246" fmla="*/ 11469620 w 12193200"/>
              <a:gd name="connsiteY246" fmla="*/ 498549 h 6861600"/>
              <a:gd name="connsiteX247" fmla="*/ 11481672 w 12193200"/>
              <a:gd name="connsiteY247" fmla="*/ 500729 h 6861600"/>
              <a:gd name="connsiteX248" fmla="*/ 11485395 w 12193200"/>
              <a:gd name="connsiteY248" fmla="*/ 542507 h 6861600"/>
              <a:gd name="connsiteX249" fmla="*/ 11498472 w 12193200"/>
              <a:gd name="connsiteY249" fmla="*/ 550707 h 6861600"/>
              <a:gd name="connsiteX250" fmla="*/ 11555917 w 12193200"/>
              <a:gd name="connsiteY250" fmla="*/ 543532 h 6861600"/>
              <a:gd name="connsiteX251" fmla="*/ 11559122 w 12193200"/>
              <a:gd name="connsiteY251" fmla="*/ 503286 h 6861600"/>
              <a:gd name="connsiteX252" fmla="*/ 11570149 w 12193200"/>
              <a:gd name="connsiteY252" fmla="*/ 502002 h 6861600"/>
              <a:gd name="connsiteX253" fmla="*/ 11579385 w 12193200"/>
              <a:gd name="connsiteY253" fmla="*/ 528405 h 6861600"/>
              <a:gd name="connsiteX254" fmla="*/ 11598752 w 12193200"/>
              <a:gd name="connsiteY254" fmla="*/ 531739 h 6861600"/>
              <a:gd name="connsiteX255" fmla="*/ 11602723 w 12193200"/>
              <a:gd name="connsiteY255" fmla="*/ 497772 h 6861600"/>
              <a:gd name="connsiteX256" fmla="*/ 11625673 w 12193200"/>
              <a:gd name="connsiteY256" fmla="*/ 533282 h 6861600"/>
              <a:gd name="connsiteX257" fmla="*/ 11612855 w 12193200"/>
              <a:gd name="connsiteY257" fmla="*/ 586216 h 6861600"/>
              <a:gd name="connsiteX258" fmla="*/ 11537326 w 12193200"/>
              <a:gd name="connsiteY258" fmla="*/ 569427 h 6861600"/>
              <a:gd name="connsiteX259" fmla="*/ 11459488 w 12193200"/>
              <a:gd name="connsiteY259" fmla="*/ 611465 h 6861600"/>
              <a:gd name="connsiteX260" fmla="*/ 11456154 w 12193200"/>
              <a:gd name="connsiteY260" fmla="*/ 612360 h 6861600"/>
              <a:gd name="connsiteX261" fmla="*/ 11418325 w 12193200"/>
              <a:gd name="connsiteY261" fmla="*/ 585191 h 6861600"/>
              <a:gd name="connsiteX262" fmla="*/ 11388707 w 12193200"/>
              <a:gd name="connsiteY262" fmla="*/ 549434 h 6861600"/>
              <a:gd name="connsiteX263" fmla="*/ 11414743 w 12193200"/>
              <a:gd name="connsiteY263" fmla="*/ 487403 h 6861600"/>
              <a:gd name="connsiteX264" fmla="*/ 11419441 w 12193200"/>
              <a:gd name="connsiteY264" fmla="*/ 484343 h 6861600"/>
              <a:gd name="connsiteX265" fmla="*/ 11358173 w 12193200"/>
              <a:gd name="connsiteY265" fmla="*/ 469801 h 6861600"/>
              <a:gd name="connsiteX266" fmla="*/ 11346260 w 12193200"/>
              <a:gd name="connsiteY266" fmla="*/ 478275 h 6861600"/>
              <a:gd name="connsiteX267" fmla="*/ 11361744 w 12193200"/>
              <a:gd name="connsiteY267" fmla="*/ 470744 h 6861600"/>
              <a:gd name="connsiteX268" fmla="*/ 11358173 w 12193200"/>
              <a:gd name="connsiteY268" fmla="*/ 469801 h 6861600"/>
              <a:gd name="connsiteX269" fmla="*/ 11354455 w 12193200"/>
              <a:gd name="connsiteY269" fmla="*/ 453696 h 6861600"/>
              <a:gd name="connsiteX270" fmla="*/ 11379471 w 12193200"/>
              <a:gd name="connsiteY270" fmla="*/ 464454 h 6861600"/>
              <a:gd name="connsiteX271" fmla="*/ 11401267 w 12193200"/>
              <a:gd name="connsiteY271" fmla="*/ 487522 h 6861600"/>
              <a:gd name="connsiteX272" fmla="*/ 11376515 w 12193200"/>
              <a:gd name="connsiteY272" fmla="*/ 541611 h 6861600"/>
              <a:gd name="connsiteX273" fmla="*/ 11357665 w 12193200"/>
              <a:gd name="connsiteY273" fmla="*/ 511745 h 6861600"/>
              <a:gd name="connsiteX274" fmla="*/ 11330734 w 12193200"/>
              <a:gd name="connsiteY274" fmla="*/ 504052 h 6861600"/>
              <a:gd name="connsiteX275" fmla="*/ 11328166 w 12193200"/>
              <a:gd name="connsiteY275" fmla="*/ 491881 h 6861600"/>
              <a:gd name="connsiteX276" fmla="*/ 11335600 w 12193200"/>
              <a:gd name="connsiteY276" fmla="*/ 481879 h 6861600"/>
              <a:gd name="connsiteX277" fmla="*/ 11338297 w 12193200"/>
              <a:gd name="connsiteY277" fmla="*/ 470604 h 6861600"/>
              <a:gd name="connsiteX278" fmla="*/ 11349972 w 12193200"/>
              <a:gd name="connsiteY278" fmla="*/ 456124 h 6861600"/>
              <a:gd name="connsiteX279" fmla="*/ 11354455 w 12193200"/>
              <a:gd name="connsiteY279" fmla="*/ 453696 h 6861600"/>
              <a:gd name="connsiteX280" fmla="*/ 11324025 w 12193200"/>
              <a:gd name="connsiteY280" fmla="*/ 392924 h 6861600"/>
              <a:gd name="connsiteX281" fmla="*/ 11322134 w 12193200"/>
              <a:gd name="connsiteY281" fmla="*/ 400006 h 6861600"/>
              <a:gd name="connsiteX282" fmla="*/ 11335988 w 12193200"/>
              <a:gd name="connsiteY282" fmla="*/ 441536 h 6861600"/>
              <a:gd name="connsiteX283" fmla="*/ 11339193 w 12193200"/>
              <a:gd name="connsiteY283" fmla="*/ 451786 h 6861600"/>
              <a:gd name="connsiteX284" fmla="*/ 11328425 w 12193200"/>
              <a:gd name="connsiteY284" fmla="*/ 467162 h 6861600"/>
              <a:gd name="connsiteX285" fmla="*/ 11327270 w 12193200"/>
              <a:gd name="connsiteY285" fmla="*/ 474855 h 6861600"/>
              <a:gd name="connsiteX286" fmla="*/ 11315477 w 12193200"/>
              <a:gd name="connsiteY286" fmla="*/ 490748 h 6861600"/>
              <a:gd name="connsiteX287" fmla="*/ 11317268 w 12193200"/>
              <a:gd name="connsiteY287" fmla="*/ 503696 h 6861600"/>
              <a:gd name="connsiteX288" fmla="*/ 11327788 w 12193200"/>
              <a:gd name="connsiteY288" fmla="*/ 514594 h 6861600"/>
              <a:gd name="connsiteX289" fmla="*/ 11341890 w 12193200"/>
              <a:gd name="connsiteY289" fmla="*/ 516137 h 6861600"/>
              <a:gd name="connsiteX290" fmla="*/ 11358561 w 12193200"/>
              <a:gd name="connsiteY290" fmla="*/ 529214 h 6861600"/>
              <a:gd name="connsiteX291" fmla="*/ 11388308 w 12193200"/>
              <a:gd name="connsiteY291" fmla="*/ 580476 h 6861600"/>
              <a:gd name="connsiteX292" fmla="*/ 11394717 w 12193200"/>
              <a:gd name="connsiteY292" fmla="*/ 606490 h 6861600"/>
              <a:gd name="connsiteX293" fmla="*/ 11360611 w 12193200"/>
              <a:gd name="connsiteY293" fmla="*/ 709026 h 6861600"/>
              <a:gd name="connsiteX294" fmla="*/ 11362402 w 12193200"/>
              <a:gd name="connsiteY294" fmla="*/ 719406 h 6861600"/>
              <a:gd name="connsiteX295" fmla="*/ 11388567 w 12193200"/>
              <a:gd name="connsiteY295" fmla="*/ 719406 h 6861600"/>
              <a:gd name="connsiteX296" fmla="*/ 11394210 w 12193200"/>
              <a:gd name="connsiteY296" fmla="*/ 711972 h 6861600"/>
              <a:gd name="connsiteX297" fmla="*/ 11429094 w 12193200"/>
              <a:gd name="connsiteY297" fmla="*/ 608411 h 6861600"/>
              <a:gd name="connsiteX298" fmla="*/ 11464484 w 12193200"/>
              <a:gd name="connsiteY298" fmla="*/ 709921 h 6861600"/>
              <a:gd name="connsiteX299" fmla="*/ 11468207 w 12193200"/>
              <a:gd name="connsiteY299" fmla="*/ 719665 h 6861600"/>
              <a:gd name="connsiteX300" fmla="*/ 11490650 w 12193200"/>
              <a:gd name="connsiteY300" fmla="*/ 719665 h 6861600"/>
              <a:gd name="connsiteX301" fmla="*/ 11497954 w 12193200"/>
              <a:gd name="connsiteY301" fmla="*/ 713126 h 6861600"/>
              <a:gd name="connsiteX302" fmla="*/ 11473979 w 12193200"/>
              <a:gd name="connsiteY302" fmla="*/ 619309 h 6861600"/>
              <a:gd name="connsiteX303" fmla="*/ 11535276 w 12193200"/>
              <a:gd name="connsiteY303" fmla="*/ 595345 h 6861600"/>
              <a:gd name="connsiteX304" fmla="*/ 11569383 w 12193200"/>
              <a:gd name="connsiteY304" fmla="*/ 622136 h 6861600"/>
              <a:gd name="connsiteX305" fmla="*/ 11512315 w 12193200"/>
              <a:gd name="connsiteY305" fmla="*/ 709932 h 6861600"/>
              <a:gd name="connsiteX306" fmla="*/ 11514624 w 12193200"/>
              <a:gd name="connsiteY306" fmla="*/ 719417 h 6861600"/>
              <a:gd name="connsiteX307" fmla="*/ 11538351 w 12193200"/>
              <a:gd name="connsiteY307" fmla="*/ 719417 h 6861600"/>
              <a:gd name="connsiteX308" fmla="*/ 11547069 w 12193200"/>
              <a:gd name="connsiteY308" fmla="*/ 713903 h 6861600"/>
              <a:gd name="connsiteX309" fmla="*/ 11598623 w 12193200"/>
              <a:gd name="connsiteY309" fmla="*/ 630983 h 6861600"/>
              <a:gd name="connsiteX310" fmla="*/ 11608496 w 12193200"/>
              <a:gd name="connsiteY310" fmla="*/ 600869 h 6861600"/>
              <a:gd name="connsiteX311" fmla="*/ 11599130 w 12193200"/>
              <a:gd name="connsiteY311" fmla="*/ 710062 h 6861600"/>
              <a:gd name="connsiteX312" fmla="*/ 11601439 w 12193200"/>
              <a:gd name="connsiteY312" fmla="*/ 719287 h 6861600"/>
              <a:gd name="connsiteX313" fmla="*/ 11622857 w 12193200"/>
              <a:gd name="connsiteY313" fmla="*/ 719287 h 6861600"/>
              <a:gd name="connsiteX314" fmla="*/ 11629525 w 12193200"/>
              <a:gd name="connsiteY314" fmla="*/ 711087 h 6861600"/>
              <a:gd name="connsiteX315" fmla="*/ 11634650 w 12193200"/>
              <a:gd name="connsiteY315" fmla="*/ 693014 h 6861600"/>
              <a:gd name="connsiteX316" fmla="*/ 11654018 w 12193200"/>
              <a:gd name="connsiteY316" fmla="*/ 688018 h 6861600"/>
              <a:gd name="connsiteX317" fmla="*/ 11659024 w 12193200"/>
              <a:gd name="connsiteY317" fmla="*/ 680584 h 6861600"/>
              <a:gd name="connsiteX318" fmla="*/ 11654654 w 12193200"/>
              <a:gd name="connsiteY318" fmla="*/ 520852 h 6861600"/>
              <a:gd name="connsiteX319" fmla="*/ 11603360 w 12193200"/>
              <a:gd name="connsiteY319" fmla="*/ 487533 h 6861600"/>
              <a:gd name="connsiteX320" fmla="*/ 11526547 w 12193200"/>
              <a:gd name="connsiteY320" fmla="*/ 493424 h 6861600"/>
              <a:gd name="connsiteX321" fmla="*/ 11402033 w 12193200"/>
              <a:gd name="connsiteY321" fmla="*/ 464842 h 6861600"/>
              <a:gd name="connsiteX322" fmla="*/ 11401644 w 12193200"/>
              <a:gd name="connsiteY322" fmla="*/ 459199 h 6861600"/>
              <a:gd name="connsiteX323" fmla="*/ 11433960 w 12193200"/>
              <a:gd name="connsiteY323" fmla="*/ 433314 h 6861600"/>
              <a:gd name="connsiteX324" fmla="*/ 11431392 w 12193200"/>
              <a:gd name="connsiteY324" fmla="*/ 426398 h 6861600"/>
              <a:gd name="connsiteX325" fmla="*/ 11365995 w 12193200"/>
              <a:gd name="connsiteY325" fmla="*/ 438191 h 6861600"/>
              <a:gd name="connsiteX326" fmla="*/ 11327648 w 12193200"/>
              <a:gd name="connsiteY326" fmla="*/ 397568 h 6861600"/>
              <a:gd name="connsiteX327" fmla="*/ 11324025 w 12193200"/>
              <a:gd name="connsiteY327" fmla="*/ 392924 h 6861600"/>
              <a:gd name="connsiteX328" fmla="*/ 11391491 w 12193200"/>
              <a:gd name="connsiteY328" fmla="*/ 334037 h 6861600"/>
              <a:gd name="connsiteX329" fmla="*/ 11426364 w 12193200"/>
              <a:gd name="connsiteY329" fmla="*/ 368996 h 6861600"/>
              <a:gd name="connsiteX330" fmla="*/ 11391491 w 12193200"/>
              <a:gd name="connsiteY330" fmla="*/ 403955 h 6861600"/>
              <a:gd name="connsiteX331" fmla="*/ 11356360 w 12193200"/>
              <a:gd name="connsiteY331" fmla="*/ 368996 h 6861600"/>
              <a:gd name="connsiteX332" fmla="*/ 11391491 w 12193200"/>
              <a:gd name="connsiteY332" fmla="*/ 334037 h 6861600"/>
              <a:gd name="connsiteX333" fmla="*/ 11389959 w 12193200"/>
              <a:gd name="connsiteY333" fmla="*/ 321618 h 6861600"/>
              <a:gd name="connsiteX334" fmla="*/ 11337262 w 12193200"/>
              <a:gd name="connsiteY334" fmla="*/ 374510 h 6861600"/>
              <a:gd name="connsiteX335" fmla="*/ 11389959 w 12193200"/>
              <a:gd name="connsiteY335" fmla="*/ 427401 h 6861600"/>
              <a:gd name="connsiteX336" fmla="*/ 11442656 w 12193200"/>
              <a:gd name="connsiteY336" fmla="*/ 374510 h 6861600"/>
              <a:gd name="connsiteX337" fmla="*/ 11389959 w 12193200"/>
              <a:gd name="connsiteY337" fmla="*/ 321618 h 6861600"/>
              <a:gd name="connsiteX338" fmla="*/ 0 w 12193200"/>
              <a:gd name="connsiteY338" fmla="*/ 0 h 6861600"/>
              <a:gd name="connsiteX339" fmla="*/ 12193200 w 12193200"/>
              <a:gd name="connsiteY339" fmla="*/ 0 h 6861600"/>
              <a:gd name="connsiteX340" fmla="*/ 12193200 w 12193200"/>
              <a:gd name="connsiteY340" fmla="*/ 6861600 h 6861600"/>
              <a:gd name="connsiteX341" fmla="*/ 0 w 12193200"/>
              <a:gd name="connsiteY341" fmla="*/ 6861600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2193200" h="6861600">
                <a:moveTo>
                  <a:pt x="11666200" y="756760"/>
                </a:moveTo>
                <a:cubicBezTo>
                  <a:pt x="11673094" y="756760"/>
                  <a:pt x="11676288" y="758939"/>
                  <a:pt x="11678975" y="761119"/>
                </a:cubicBezTo>
                <a:cubicBezTo>
                  <a:pt x="11678975" y="808195"/>
                  <a:pt x="11678975" y="808195"/>
                  <a:pt x="11678975" y="808195"/>
                </a:cubicBezTo>
                <a:lnTo>
                  <a:pt x="11678845" y="808195"/>
                </a:lnTo>
                <a:cubicBezTo>
                  <a:pt x="11678845" y="811658"/>
                  <a:pt x="11673094" y="813579"/>
                  <a:pt x="11667095" y="813579"/>
                </a:cubicBezTo>
                <a:cubicBezTo>
                  <a:pt x="11654191" y="813579"/>
                  <a:pt x="11644998" y="802671"/>
                  <a:pt x="11644998" y="784080"/>
                </a:cubicBezTo>
                <a:cubicBezTo>
                  <a:pt x="11644998" y="767658"/>
                  <a:pt x="11653942" y="756760"/>
                  <a:pt x="11666200" y="756760"/>
                </a:cubicBezTo>
                <a:close/>
                <a:moveTo>
                  <a:pt x="11553608" y="755951"/>
                </a:moveTo>
                <a:cubicBezTo>
                  <a:pt x="11558334" y="755951"/>
                  <a:pt x="11561787" y="756976"/>
                  <a:pt x="11565369" y="760439"/>
                </a:cubicBezTo>
                <a:cubicBezTo>
                  <a:pt x="11569210" y="764032"/>
                  <a:pt x="11571638" y="771995"/>
                  <a:pt x="11571638" y="784954"/>
                </a:cubicBezTo>
                <a:cubicBezTo>
                  <a:pt x="11571638" y="797535"/>
                  <a:pt x="11569210" y="805746"/>
                  <a:pt x="11565369" y="809339"/>
                </a:cubicBezTo>
                <a:cubicBezTo>
                  <a:pt x="11561787" y="812802"/>
                  <a:pt x="11558334" y="813698"/>
                  <a:pt x="11553608" y="813698"/>
                </a:cubicBezTo>
                <a:cubicBezTo>
                  <a:pt x="11548882" y="813698"/>
                  <a:pt x="11545677" y="812802"/>
                  <a:pt x="11542106" y="809339"/>
                </a:cubicBezTo>
                <a:cubicBezTo>
                  <a:pt x="11538394" y="805746"/>
                  <a:pt x="11535837" y="797783"/>
                  <a:pt x="11535837" y="784954"/>
                </a:cubicBezTo>
                <a:cubicBezTo>
                  <a:pt x="11535837" y="772243"/>
                  <a:pt x="11538394" y="764032"/>
                  <a:pt x="11542106" y="760439"/>
                </a:cubicBezTo>
                <a:cubicBezTo>
                  <a:pt x="11545688" y="756976"/>
                  <a:pt x="11549141" y="755951"/>
                  <a:pt x="11553608" y="755951"/>
                </a:cubicBezTo>
                <a:close/>
                <a:moveTo>
                  <a:pt x="11389948" y="755951"/>
                </a:moveTo>
                <a:cubicBezTo>
                  <a:pt x="11394707" y="755951"/>
                  <a:pt x="11397911" y="756976"/>
                  <a:pt x="11401504" y="760439"/>
                </a:cubicBezTo>
                <a:cubicBezTo>
                  <a:pt x="11405356" y="764032"/>
                  <a:pt x="11407795" y="771995"/>
                  <a:pt x="11407795" y="784954"/>
                </a:cubicBezTo>
                <a:cubicBezTo>
                  <a:pt x="11407795" y="797535"/>
                  <a:pt x="11405356" y="805746"/>
                  <a:pt x="11401504" y="809339"/>
                </a:cubicBezTo>
                <a:cubicBezTo>
                  <a:pt x="11397911" y="812802"/>
                  <a:pt x="11394448" y="813698"/>
                  <a:pt x="11389948" y="813698"/>
                </a:cubicBezTo>
                <a:cubicBezTo>
                  <a:pt x="11385201" y="813698"/>
                  <a:pt x="11381985" y="812802"/>
                  <a:pt x="11378133" y="809339"/>
                </a:cubicBezTo>
                <a:cubicBezTo>
                  <a:pt x="11374411" y="805746"/>
                  <a:pt x="11371843" y="797783"/>
                  <a:pt x="11371843" y="784954"/>
                </a:cubicBezTo>
                <a:cubicBezTo>
                  <a:pt x="11371843" y="772243"/>
                  <a:pt x="11374411" y="764032"/>
                  <a:pt x="11378133" y="760439"/>
                </a:cubicBezTo>
                <a:cubicBezTo>
                  <a:pt x="11381726" y="756976"/>
                  <a:pt x="11385190" y="755951"/>
                  <a:pt x="11389948" y="755951"/>
                </a:cubicBezTo>
                <a:close/>
                <a:moveTo>
                  <a:pt x="11267462" y="755951"/>
                </a:moveTo>
                <a:cubicBezTo>
                  <a:pt x="11272210" y="755951"/>
                  <a:pt x="11275425" y="756976"/>
                  <a:pt x="11279148" y="760439"/>
                </a:cubicBezTo>
                <a:cubicBezTo>
                  <a:pt x="11282881" y="764032"/>
                  <a:pt x="11285438" y="771995"/>
                  <a:pt x="11285438" y="784954"/>
                </a:cubicBezTo>
                <a:cubicBezTo>
                  <a:pt x="11285438" y="797535"/>
                  <a:pt x="11283000" y="805746"/>
                  <a:pt x="11279148" y="809339"/>
                </a:cubicBezTo>
                <a:cubicBezTo>
                  <a:pt x="11275555" y="812802"/>
                  <a:pt x="11272210" y="813698"/>
                  <a:pt x="11267462" y="813698"/>
                </a:cubicBezTo>
                <a:cubicBezTo>
                  <a:pt x="11262715" y="813698"/>
                  <a:pt x="11259499" y="812802"/>
                  <a:pt x="11255907" y="809339"/>
                </a:cubicBezTo>
                <a:cubicBezTo>
                  <a:pt x="11252054" y="805746"/>
                  <a:pt x="11249616" y="797783"/>
                  <a:pt x="11249616" y="784954"/>
                </a:cubicBezTo>
                <a:cubicBezTo>
                  <a:pt x="11249616" y="772243"/>
                  <a:pt x="11252054" y="764032"/>
                  <a:pt x="11255907" y="760439"/>
                </a:cubicBezTo>
                <a:cubicBezTo>
                  <a:pt x="11259499" y="756976"/>
                  <a:pt x="11262844" y="755951"/>
                  <a:pt x="11267462" y="755951"/>
                </a:cubicBezTo>
                <a:close/>
                <a:moveTo>
                  <a:pt x="11708668" y="750006"/>
                </a:moveTo>
                <a:cubicBezTo>
                  <a:pt x="11706381" y="750006"/>
                  <a:pt x="11706381" y="750772"/>
                  <a:pt x="11706381" y="752433"/>
                </a:cubicBezTo>
                <a:cubicBezTo>
                  <a:pt x="11706381" y="817032"/>
                  <a:pt x="11706381" y="817032"/>
                  <a:pt x="11706381" y="817032"/>
                </a:cubicBezTo>
                <a:cubicBezTo>
                  <a:pt x="11706381" y="818952"/>
                  <a:pt x="11706381" y="819459"/>
                  <a:pt x="11708420" y="819459"/>
                </a:cubicBezTo>
                <a:cubicBezTo>
                  <a:pt x="11715671" y="819459"/>
                  <a:pt x="11715671" y="819459"/>
                  <a:pt x="11715671" y="819459"/>
                </a:cubicBezTo>
                <a:cubicBezTo>
                  <a:pt x="11717699" y="819330"/>
                  <a:pt x="11718206" y="819330"/>
                  <a:pt x="11718206" y="817032"/>
                </a:cubicBezTo>
                <a:cubicBezTo>
                  <a:pt x="11718206" y="752433"/>
                  <a:pt x="11718206" y="752433"/>
                  <a:pt x="11718206" y="752433"/>
                </a:cubicBezTo>
                <a:cubicBezTo>
                  <a:pt x="11718206" y="750383"/>
                  <a:pt x="11717699" y="750006"/>
                  <a:pt x="11715660" y="750006"/>
                </a:cubicBezTo>
                <a:cubicBezTo>
                  <a:pt x="11708668" y="750006"/>
                  <a:pt x="11708668" y="750006"/>
                  <a:pt x="11708668" y="750006"/>
                </a:cubicBezTo>
                <a:close/>
                <a:moveTo>
                  <a:pt x="11826514" y="749671"/>
                </a:moveTo>
                <a:cubicBezTo>
                  <a:pt x="11824076" y="749671"/>
                  <a:pt x="11823170" y="749542"/>
                  <a:pt x="11822404" y="751851"/>
                </a:cubicBezTo>
                <a:cubicBezTo>
                  <a:pt x="11818552" y="763374"/>
                  <a:pt x="11808647" y="775804"/>
                  <a:pt x="11798623" y="781695"/>
                </a:cubicBezTo>
                <a:cubicBezTo>
                  <a:pt x="11798234" y="782084"/>
                  <a:pt x="11798105" y="782461"/>
                  <a:pt x="11798105" y="782461"/>
                </a:cubicBezTo>
                <a:cubicBezTo>
                  <a:pt x="11798105" y="782591"/>
                  <a:pt x="11798234" y="782968"/>
                  <a:pt x="11798234" y="783227"/>
                </a:cubicBezTo>
                <a:cubicBezTo>
                  <a:pt x="11822145" y="817420"/>
                  <a:pt x="11822145" y="817420"/>
                  <a:pt x="11822145" y="817420"/>
                </a:cubicBezTo>
                <a:cubicBezTo>
                  <a:pt x="11823558" y="819470"/>
                  <a:pt x="11824076" y="819470"/>
                  <a:pt x="11826126" y="819470"/>
                </a:cubicBezTo>
                <a:cubicBezTo>
                  <a:pt x="11835254" y="819470"/>
                  <a:pt x="11835254" y="819470"/>
                  <a:pt x="11835254" y="819470"/>
                </a:cubicBezTo>
                <a:cubicBezTo>
                  <a:pt x="11835891" y="819330"/>
                  <a:pt x="11837175" y="819330"/>
                  <a:pt x="11837175" y="817798"/>
                </a:cubicBezTo>
                <a:cubicBezTo>
                  <a:pt x="11837175" y="817291"/>
                  <a:pt x="11836786" y="816643"/>
                  <a:pt x="11836279" y="816136"/>
                </a:cubicBezTo>
                <a:cubicBezTo>
                  <a:pt x="11810826" y="782450"/>
                  <a:pt x="11810826" y="782450"/>
                  <a:pt x="11810826" y="782450"/>
                </a:cubicBezTo>
                <a:cubicBezTo>
                  <a:pt x="11810567" y="782192"/>
                  <a:pt x="11810567" y="782192"/>
                  <a:pt x="11810567" y="782192"/>
                </a:cubicBezTo>
                <a:cubicBezTo>
                  <a:pt x="11819566" y="775534"/>
                  <a:pt x="11828824" y="765154"/>
                  <a:pt x="11834607" y="753890"/>
                </a:cubicBezTo>
                <a:cubicBezTo>
                  <a:pt x="11835125" y="752606"/>
                  <a:pt x="11835254" y="751969"/>
                  <a:pt x="11835254" y="751203"/>
                </a:cubicBezTo>
                <a:cubicBezTo>
                  <a:pt x="11835254" y="750049"/>
                  <a:pt x="11834607" y="749671"/>
                  <a:pt x="11832816" y="749671"/>
                </a:cubicBezTo>
                <a:cubicBezTo>
                  <a:pt x="11826514" y="749671"/>
                  <a:pt x="11826514" y="749671"/>
                  <a:pt x="11826514" y="749671"/>
                </a:cubicBezTo>
                <a:close/>
                <a:moveTo>
                  <a:pt x="11301634" y="749671"/>
                </a:moveTo>
                <a:cubicBezTo>
                  <a:pt x="11301116" y="749671"/>
                  <a:pt x="11299832" y="749671"/>
                  <a:pt x="11299832" y="751462"/>
                </a:cubicBezTo>
                <a:cubicBezTo>
                  <a:pt x="11299832" y="751980"/>
                  <a:pt x="11299961" y="752617"/>
                  <a:pt x="11300350" y="753383"/>
                </a:cubicBezTo>
                <a:cubicBezTo>
                  <a:pt x="11324605" y="817399"/>
                  <a:pt x="11324605" y="817399"/>
                  <a:pt x="11324605" y="817399"/>
                </a:cubicBezTo>
                <a:cubicBezTo>
                  <a:pt x="11325371" y="818942"/>
                  <a:pt x="11325630" y="819449"/>
                  <a:pt x="11326785" y="819449"/>
                </a:cubicBezTo>
                <a:cubicBezTo>
                  <a:pt x="11332050" y="819449"/>
                  <a:pt x="11332050" y="819449"/>
                  <a:pt x="11332050" y="819449"/>
                </a:cubicBezTo>
                <a:cubicBezTo>
                  <a:pt x="11333593" y="819449"/>
                  <a:pt x="11333971" y="819190"/>
                  <a:pt x="11334489" y="817399"/>
                </a:cubicBezTo>
                <a:cubicBezTo>
                  <a:pt x="11358108" y="753135"/>
                  <a:pt x="11358108" y="753135"/>
                  <a:pt x="11358108" y="753135"/>
                </a:cubicBezTo>
                <a:cubicBezTo>
                  <a:pt x="11358366" y="751592"/>
                  <a:pt x="11358366" y="751462"/>
                  <a:pt x="11358366" y="751085"/>
                </a:cubicBezTo>
                <a:cubicBezTo>
                  <a:pt x="11358366" y="749671"/>
                  <a:pt x="11357341" y="749671"/>
                  <a:pt x="11356694" y="749671"/>
                </a:cubicBezTo>
                <a:cubicBezTo>
                  <a:pt x="11350015" y="749671"/>
                  <a:pt x="11350015" y="749671"/>
                  <a:pt x="11350015" y="749671"/>
                </a:cubicBezTo>
                <a:cubicBezTo>
                  <a:pt x="11349120" y="749930"/>
                  <a:pt x="11348990" y="750308"/>
                  <a:pt x="11348343" y="751592"/>
                </a:cubicBezTo>
                <a:cubicBezTo>
                  <a:pt x="11330885" y="802908"/>
                  <a:pt x="11330885" y="802908"/>
                  <a:pt x="11330885" y="802908"/>
                </a:cubicBezTo>
                <a:cubicBezTo>
                  <a:pt x="11312920" y="751851"/>
                  <a:pt x="11312920" y="751851"/>
                  <a:pt x="11312920" y="751851"/>
                </a:cubicBezTo>
                <a:cubicBezTo>
                  <a:pt x="11312154" y="749930"/>
                  <a:pt x="11311895" y="749671"/>
                  <a:pt x="11309845" y="749671"/>
                </a:cubicBezTo>
                <a:cubicBezTo>
                  <a:pt x="11301634" y="749671"/>
                  <a:pt x="11301634" y="749671"/>
                  <a:pt x="11301634" y="749671"/>
                </a:cubicBezTo>
                <a:close/>
                <a:moveTo>
                  <a:pt x="11754223" y="748506"/>
                </a:moveTo>
                <a:cubicBezTo>
                  <a:pt x="11742149" y="748506"/>
                  <a:pt x="11731241" y="755185"/>
                  <a:pt x="11731241" y="767625"/>
                </a:cubicBezTo>
                <a:cubicBezTo>
                  <a:pt x="11731241" y="779300"/>
                  <a:pt x="11739462" y="784177"/>
                  <a:pt x="11749346" y="788417"/>
                </a:cubicBezTo>
                <a:cubicBezTo>
                  <a:pt x="11757050" y="791622"/>
                  <a:pt x="11764236" y="794708"/>
                  <a:pt x="11764236" y="801894"/>
                </a:cubicBezTo>
                <a:cubicBezTo>
                  <a:pt x="11764236" y="807407"/>
                  <a:pt x="11759866" y="813698"/>
                  <a:pt x="11750500" y="813698"/>
                </a:cubicBezTo>
                <a:cubicBezTo>
                  <a:pt x="11740995" y="813698"/>
                  <a:pt x="11738308" y="806641"/>
                  <a:pt x="11733679" y="806641"/>
                </a:cubicBezTo>
                <a:cubicBezTo>
                  <a:pt x="11731500" y="806641"/>
                  <a:pt x="11728673" y="807666"/>
                  <a:pt x="11728673" y="811130"/>
                </a:cubicBezTo>
                <a:cubicBezTo>
                  <a:pt x="11728673" y="816643"/>
                  <a:pt x="11739462" y="821402"/>
                  <a:pt x="11750241" y="821402"/>
                </a:cubicBezTo>
                <a:cubicBezTo>
                  <a:pt x="11762434" y="821531"/>
                  <a:pt x="11774896" y="815111"/>
                  <a:pt x="11774896" y="800610"/>
                </a:cubicBezTo>
                <a:cubicBezTo>
                  <a:pt x="11774896" y="777897"/>
                  <a:pt x="11741901" y="781490"/>
                  <a:pt x="11741901" y="766471"/>
                </a:cubicBezTo>
                <a:cubicBezTo>
                  <a:pt x="11741901" y="761335"/>
                  <a:pt x="11745882" y="756199"/>
                  <a:pt x="11753457" y="756199"/>
                </a:cubicBezTo>
                <a:cubicBezTo>
                  <a:pt x="11761290" y="756199"/>
                  <a:pt x="11763340" y="761335"/>
                  <a:pt x="11767322" y="761335"/>
                </a:cubicBezTo>
                <a:cubicBezTo>
                  <a:pt x="11769372" y="761335"/>
                  <a:pt x="11772328" y="760180"/>
                  <a:pt x="11772328" y="756587"/>
                </a:cubicBezTo>
                <a:cubicBezTo>
                  <a:pt x="11772328" y="751452"/>
                  <a:pt x="11763599" y="748506"/>
                  <a:pt x="11754223" y="748506"/>
                </a:cubicBezTo>
                <a:close/>
                <a:moveTo>
                  <a:pt x="11614257" y="748117"/>
                </a:moveTo>
                <a:cubicBezTo>
                  <a:pt x="11607082" y="748117"/>
                  <a:pt x="11602594" y="749272"/>
                  <a:pt x="11599001" y="750167"/>
                </a:cubicBezTo>
                <a:cubicBezTo>
                  <a:pt x="11594383" y="751322"/>
                  <a:pt x="11592721" y="753491"/>
                  <a:pt x="11592721" y="755660"/>
                </a:cubicBezTo>
                <a:cubicBezTo>
                  <a:pt x="11592721" y="816902"/>
                  <a:pt x="11592721" y="816902"/>
                  <a:pt x="11592721" y="816902"/>
                </a:cubicBezTo>
                <a:cubicBezTo>
                  <a:pt x="11592721" y="818952"/>
                  <a:pt x="11593487" y="819071"/>
                  <a:pt x="11595418" y="819071"/>
                </a:cubicBezTo>
                <a:cubicBezTo>
                  <a:pt x="11602216" y="819071"/>
                  <a:pt x="11602216" y="819071"/>
                  <a:pt x="11602216" y="819071"/>
                </a:cubicBezTo>
                <a:cubicBezTo>
                  <a:pt x="11603878" y="819071"/>
                  <a:pt x="11604654" y="818942"/>
                  <a:pt x="11604654" y="816902"/>
                </a:cubicBezTo>
                <a:cubicBezTo>
                  <a:pt x="11604654" y="760774"/>
                  <a:pt x="11604654" y="760774"/>
                  <a:pt x="11604654" y="760774"/>
                </a:cubicBezTo>
                <a:cubicBezTo>
                  <a:pt x="11604654" y="757192"/>
                  <a:pt x="11607471" y="754764"/>
                  <a:pt x="11611452" y="754764"/>
                </a:cubicBezTo>
                <a:cubicBezTo>
                  <a:pt x="11620041" y="754764"/>
                  <a:pt x="11621325" y="761033"/>
                  <a:pt x="11625943" y="761033"/>
                </a:cubicBezTo>
                <a:cubicBezTo>
                  <a:pt x="11629255" y="761162"/>
                  <a:pt x="11631823" y="759112"/>
                  <a:pt x="11631823" y="755152"/>
                </a:cubicBezTo>
                <a:cubicBezTo>
                  <a:pt x="11631823" y="750167"/>
                  <a:pt x="11623623" y="748117"/>
                  <a:pt x="11614257" y="748117"/>
                </a:cubicBezTo>
                <a:close/>
                <a:moveTo>
                  <a:pt x="11553619" y="748117"/>
                </a:moveTo>
                <a:cubicBezTo>
                  <a:pt x="11547609" y="748117"/>
                  <a:pt x="11541221" y="749919"/>
                  <a:pt x="11536236" y="753124"/>
                </a:cubicBezTo>
                <a:cubicBezTo>
                  <a:pt x="11528565" y="758519"/>
                  <a:pt x="11523450" y="768780"/>
                  <a:pt x="11523450" y="784954"/>
                </a:cubicBezTo>
                <a:cubicBezTo>
                  <a:pt x="11523450" y="800998"/>
                  <a:pt x="11528565" y="811270"/>
                  <a:pt x="11536236" y="816654"/>
                </a:cubicBezTo>
                <a:cubicBezTo>
                  <a:pt x="11540962" y="819988"/>
                  <a:pt x="11547490" y="821531"/>
                  <a:pt x="11553619" y="821531"/>
                </a:cubicBezTo>
                <a:cubicBezTo>
                  <a:pt x="11559888" y="821531"/>
                  <a:pt x="11566275" y="819859"/>
                  <a:pt x="11571001" y="816654"/>
                </a:cubicBezTo>
                <a:cubicBezTo>
                  <a:pt x="11578802" y="811259"/>
                  <a:pt x="11583917" y="800998"/>
                  <a:pt x="11583917" y="784954"/>
                </a:cubicBezTo>
                <a:cubicBezTo>
                  <a:pt x="11583917" y="768780"/>
                  <a:pt x="11578802" y="758519"/>
                  <a:pt x="11571001" y="753124"/>
                </a:cubicBezTo>
                <a:cubicBezTo>
                  <a:pt x="11566146" y="749660"/>
                  <a:pt x="11559747" y="748117"/>
                  <a:pt x="11553619" y="748117"/>
                </a:cubicBezTo>
                <a:close/>
                <a:moveTo>
                  <a:pt x="11486031" y="748117"/>
                </a:moveTo>
                <a:cubicBezTo>
                  <a:pt x="11475824" y="748117"/>
                  <a:pt x="11468930" y="750297"/>
                  <a:pt x="11465229" y="751452"/>
                </a:cubicBezTo>
                <a:cubicBezTo>
                  <a:pt x="11460632" y="752994"/>
                  <a:pt x="11459230" y="754656"/>
                  <a:pt x="11459230" y="756965"/>
                </a:cubicBezTo>
                <a:cubicBezTo>
                  <a:pt x="11459230" y="817010"/>
                  <a:pt x="11459230" y="817010"/>
                  <a:pt x="11459230" y="817010"/>
                </a:cubicBezTo>
                <a:cubicBezTo>
                  <a:pt x="11459230" y="819190"/>
                  <a:pt x="11459737" y="819449"/>
                  <a:pt x="11461787" y="819449"/>
                </a:cubicBezTo>
                <a:cubicBezTo>
                  <a:pt x="11468422" y="819449"/>
                  <a:pt x="11468422" y="819449"/>
                  <a:pt x="11468422" y="819449"/>
                </a:cubicBezTo>
                <a:cubicBezTo>
                  <a:pt x="11470332" y="819449"/>
                  <a:pt x="11471228" y="819190"/>
                  <a:pt x="11471228" y="816751"/>
                </a:cubicBezTo>
                <a:cubicBezTo>
                  <a:pt x="11471228" y="761454"/>
                  <a:pt x="11471228" y="761454"/>
                  <a:pt x="11471228" y="761454"/>
                </a:cubicBezTo>
                <a:cubicBezTo>
                  <a:pt x="11471228" y="758497"/>
                  <a:pt x="11476331" y="755422"/>
                  <a:pt x="11485654" y="755422"/>
                </a:cubicBezTo>
                <a:cubicBezTo>
                  <a:pt x="11501223" y="755422"/>
                  <a:pt x="11501223" y="765554"/>
                  <a:pt x="11501223" y="771844"/>
                </a:cubicBezTo>
                <a:cubicBezTo>
                  <a:pt x="11501223" y="816751"/>
                  <a:pt x="11501223" y="816751"/>
                  <a:pt x="11501223" y="816751"/>
                </a:cubicBezTo>
                <a:cubicBezTo>
                  <a:pt x="11501223" y="819190"/>
                  <a:pt x="11501990" y="819449"/>
                  <a:pt x="11504288" y="819449"/>
                </a:cubicBezTo>
                <a:cubicBezTo>
                  <a:pt x="11511690" y="819449"/>
                  <a:pt x="11511690" y="819449"/>
                  <a:pt x="11511690" y="819449"/>
                </a:cubicBezTo>
                <a:cubicBezTo>
                  <a:pt x="11512963" y="819201"/>
                  <a:pt x="11512963" y="817917"/>
                  <a:pt x="11512963" y="816762"/>
                </a:cubicBezTo>
                <a:cubicBezTo>
                  <a:pt x="11512963" y="770312"/>
                  <a:pt x="11512963" y="770312"/>
                  <a:pt x="11512963" y="770312"/>
                </a:cubicBezTo>
                <a:cubicBezTo>
                  <a:pt x="11512963" y="762230"/>
                  <a:pt x="11512704" y="748117"/>
                  <a:pt x="11486031" y="748117"/>
                </a:cubicBezTo>
                <a:close/>
                <a:moveTo>
                  <a:pt x="11389700" y="748117"/>
                </a:moveTo>
                <a:cubicBezTo>
                  <a:pt x="11383539" y="748117"/>
                  <a:pt x="11377249" y="749919"/>
                  <a:pt x="11372242" y="753124"/>
                </a:cubicBezTo>
                <a:cubicBezTo>
                  <a:pt x="11364538" y="758519"/>
                  <a:pt x="11359402" y="768780"/>
                  <a:pt x="11359402" y="784954"/>
                </a:cubicBezTo>
                <a:cubicBezTo>
                  <a:pt x="11359402" y="800998"/>
                  <a:pt x="11364538" y="811270"/>
                  <a:pt x="11372242" y="816654"/>
                </a:cubicBezTo>
                <a:cubicBezTo>
                  <a:pt x="11376990" y="819988"/>
                  <a:pt x="11383539" y="821531"/>
                  <a:pt x="11389700" y="821531"/>
                </a:cubicBezTo>
                <a:cubicBezTo>
                  <a:pt x="11395990" y="821531"/>
                  <a:pt x="11402281" y="819859"/>
                  <a:pt x="11407158" y="816654"/>
                </a:cubicBezTo>
                <a:cubicBezTo>
                  <a:pt x="11414991" y="811259"/>
                  <a:pt x="11420127" y="800998"/>
                  <a:pt x="11420127" y="784954"/>
                </a:cubicBezTo>
                <a:cubicBezTo>
                  <a:pt x="11420127" y="768780"/>
                  <a:pt x="11414991" y="758519"/>
                  <a:pt x="11407158" y="753124"/>
                </a:cubicBezTo>
                <a:cubicBezTo>
                  <a:pt x="11402540" y="749660"/>
                  <a:pt x="11395990" y="748117"/>
                  <a:pt x="11389700" y="748117"/>
                </a:cubicBezTo>
                <a:close/>
                <a:moveTo>
                  <a:pt x="11267473" y="748117"/>
                </a:moveTo>
                <a:cubicBezTo>
                  <a:pt x="11261312" y="748117"/>
                  <a:pt x="11254892" y="749919"/>
                  <a:pt x="11250015" y="753124"/>
                </a:cubicBezTo>
                <a:cubicBezTo>
                  <a:pt x="11242182" y="758519"/>
                  <a:pt x="11237046" y="768780"/>
                  <a:pt x="11237046" y="784954"/>
                </a:cubicBezTo>
                <a:cubicBezTo>
                  <a:pt x="11237046" y="800998"/>
                  <a:pt x="11242182" y="811270"/>
                  <a:pt x="11250015" y="816654"/>
                </a:cubicBezTo>
                <a:cubicBezTo>
                  <a:pt x="11254763" y="819988"/>
                  <a:pt x="11261183" y="821531"/>
                  <a:pt x="11267473" y="821531"/>
                </a:cubicBezTo>
                <a:cubicBezTo>
                  <a:pt x="11273764" y="821531"/>
                  <a:pt x="11279925" y="819859"/>
                  <a:pt x="11284931" y="816654"/>
                </a:cubicBezTo>
                <a:cubicBezTo>
                  <a:pt x="11292635" y="811259"/>
                  <a:pt x="11297771" y="800998"/>
                  <a:pt x="11297771" y="784954"/>
                </a:cubicBezTo>
                <a:cubicBezTo>
                  <a:pt x="11297771" y="768780"/>
                  <a:pt x="11292635" y="758519"/>
                  <a:pt x="11284931" y="753124"/>
                </a:cubicBezTo>
                <a:cubicBezTo>
                  <a:pt x="11279925" y="749660"/>
                  <a:pt x="11273764" y="748117"/>
                  <a:pt x="11267473" y="748117"/>
                </a:cubicBezTo>
                <a:close/>
                <a:moveTo>
                  <a:pt x="11199756" y="748117"/>
                </a:moveTo>
                <a:cubicBezTo>
                  <a:pt x="11189495" y="748117"/>
                  <a:pt x="11182698" y="750297"/>
                  <a:pt x="11178857" y="751452"/>
                </a:cubicBezTo>
                <a:cubicBezTo>
                  <a:pt x="11174368" y="752994"/>
                  <a:pt x="11172825" y="754656"/>
                  <a:pt x="11172825" y="756965"/>
                </a:cubicBezTo>
                <a:cubicBezTo>
                  <a:pt x="11172825" y="817010"/>
                  <a:pt x="11172825" y="817010"/>
                  <a:pt x="11172825" y="817010"/>
                </a:cubicBezTo>
                <a:cubicBezTo>
                  <a:pt x="11172825" y="819190"/>
                  <a:pt x="11173343" y="819449"/>
                  <a:pt x="11175263" y="819449"/>
                </a:cubicBezTo>
                <a:cubicBezTo>
                  <a:pt x="11181932" y="819449"/>
                  <a:pt x="11181932" y="819449"/>
                  <a:pt x="11181932" y="819449"/>
                </a:cubicBezTo>
                <a:cubicBezTo>
                  <a:pt x="11183852" y="819449"/>
                  <a:pt x="11184748" y="819190"/>
                  <a:pt x="11184748" y="816751"/>
                </a:cubicBezTo>
                <a:cubicBezTo>
                  <a:pt x="11184748" y="761454"/>
                  <a:pt x="11184748" y="761454"/>
                  <a:pt x="11184748" y="761454"/>
                </a:cubicBezTo>
                <a:cubicBezTo>
                  <a:pt x="11184748" y="758497"/>
                  <a:pt x="11189873" y="755422"/>
                  <a:pt x="11199238" y="755422"/>
                </a:cubicBezTo>
                <a:cubicBezTo>
                  <a:pt x="11214884" y="755422"/>
                  <a:pt x="11214884" y="765554"/>
                  <a:pt x="11214884" y="771844"/>
                </a:cubicBezTo>
                <a:cubicBezTo>
                  <a:pt x="11214884" y="816751"/>
                  <a:pt x="11214884" y="816751"/>
                  <a:pt x="11214884" y="816751"/>
                </a:cubicBezTo>
                <a:cubicBezTo>
                  <a:pt x="11214884" y="819190"/>
                  <a:pt x="11215650" y="819449"/>
                  <a:pt x="11217959" y="819449"/>
                </a:cubicBezTo>
                <a:cubicBezTo>
                  <a:pt x="11225393" y="819449"/>
                  <a:pt x="11225393" y="819449"/>
                  <a:pt x="11225393" y="819449"/>
                </a:cubicBezTo>
                <a:cubicBezTo>
                  <a:pt x="11226688" y="819201"/>
                  <a:pt x="11226817" y="817917"/>
                  <a:pt x="11226817" y="816762"/>
                </a:cubicBezTo>
                <a:cubicBezTo>
                  <a:pt x="11226817" y="770312"/>
                  <a:pt x="11226817" y="770312"/>
                  <a:pt x="11226817" y="770312"/>
                </a:cubicBezTo>
                <a:cubicBezTo>
                  <a:pt x="11226817" y="762230"/>
                  <a:pt x="11226688" y="748117"/>
                  <a:pt x="11199756" y="748117"/>
                </a:cubicBezTo>
                <a:close/>
                <a:moveTo>
                  <a:pt x="11681273" y="724801"/>
                </a:moveTo>
                <a:cubicBezTo>
                  <a:pt x="11678975" y="724801"/>
                  <a:pt x="11678845" y="725567"/>
                  <a:pt x="11678845" y="727876"/>
                </a:cubicBezTo>
                <a:cubicBezTo>
                  <a:pt x="11678845" y="752250"/>
                  <a:pt x="11678845" y="752250"/>
                  <a:pt x="11678845" y="752250"/>
                </a:cubicBezTo>
                <a:cubicBezTo>
                  <a:pt x="11674626" y="750070"/>
                  <a:pt x="11670537" y="748527"/>
                  <a:pt x="11664279" y="748527"/>
                </a:cubicBezTo>
                <a:cubicBezTo>
                  <a:pt x="11643455" y="748527"/>
                  <a:pt x="11632848" y="768413"/>
                  <a:pt x="11632848" y="784954"/>
                </a:cubicBezTo>
                <a:cubicBezTo>
                  <a:pt x="11632848" y="809587"/>
                  <a:pt x="11646260" y="821510"/>
                  <a:pt x="11666707" y="821510"/>
                </a:cubicBezTo>
                <a:cubicBezTo>
                  <a:pt x="11676547" y="821531"/>
                  <a:pt x="11690477" y="816654"/>
                  <a:pt x="11690477" y="812036"/>
                </a:cubicBezTo>
                <a:cubicBezTo>
                  <a:pt x="11690477" y="727498"/>
                  <a:pt x="11690477" y="727498"/>
                  <a:pt x="11690477" y="727498"/>
                </a:cubicBezTo>
                <a:cubicBezTo>
                  <a:pt x="11690477" y="724930"/>
                  <a:pt x="11689711" y="724801"/>
                  <a:pt x="11687919" y="724801"/>
                </a:cubicBezTo>
                <a:cubicBezTo>
                  <a:pt x="11681273" y="724801"/>
                  <a:pt x="11681273" y="724801"/>
                  <a:pt x="11681273" y="724801"/>
                </a:cubicBezTo>
                <a:close/>
                <a:moveTo>
                  <a:pt x="11786797" y="724552"/>
                </a:moveTo>
                <a:cubicBezTo>
                  <a:pt x="11785384" y="724552"/>
                  <a:pt x="11784607" y="724811"/>
                  <a:pt x="11784607" y="726732"/>
                </a:cubicBezTo>
                <a:cubicBezTo>
                  <a:pt x="11784607" y="817280"/>
                  <a:pt x="11784607" y="817280"/>
                  <a:pt x="11784607" y="817280"/>
                </a:cubicBezTo>
                <a:cubicBezTo>
                  <a:pt x="11784607" y="819071"/>
                  <a:pt x="11784995" y="819330"/>
                  <a:pt x="11786797" y="819330"/>
                </a:cubicBezTo>
                <a:cubicBezTo>
                  <a:pt x="11793864" y="819330"/>
                  <a:pt x="11793864" y="819330"/>
                  <a:pt x="11793864" y="819330"/>
                </a:cubicBezTo>
                <a:cubicBezTo>
                  <a:pt x="11795526" y="819330"/>
                  <a:pt x="11796303" y="819330"/>
                  <a:pt x="11796303" y="817409"/>
                </a:cubicBezTo>
                <a:cubicBezTo>
                  <a:pt x="11796303" y="726473"/>
                  <a:pt x="11796303" y="726473"/>
                  <a:pt x="11796303" y="726473"/>
                </a:cubicBezTo>
                <a:cubicBezTo>
                  <a:pt x="11796303" y="724552"/>
                  <a:pt x="11795407" y="724552"/>
                  <a:pt x="11793864" y="724552"/>
                </a:cubicBezTo>
                <a:cubicBezTo>
                  <a:pt x="11786797" y="724552"/>
                  <a:pt x="11786797" y="724552"/>
                  <a:pt x="11786797" y="724552"/>
                </a:cubicBezTo>
                <a:close/>
                <a:moveTo>
                  <a:pt x="11712617" y="723776"/>
                </a:moveTo>
                <a:cubicBezTo>
                  <a:pt x="11708291" y="723776"/>
                  <a:pt x="11705237" y="726851"/>
                  <a:pt x="11705237" y="730940"/>
                </a:cubicBezTo>
                <a:cubicBezTo>
                  <a:pt x="11705237" y="734781"/>
                  <a:pt x="11707913" y="737975"/>
                  <a:pt x="11712358" y="737975"/>
                </a:cubicBezTo>
                <a:cubicBezTo>
                  <a:pt x="11716933" y="737845"/>
                  <a:pt x="11719739" y="734263"/>
                  <a:pt x="11719609" y="730433"/>
                </a:cubicBezTo>
                <a:cubicBezTo>
                  <a:pt x="11719350" y="726462"/>
                  <a:pt x="11716178" y="723776"/>
                  <a:pt x="11712617" y="723776"/>
                </a:cubicBezTo>
                <a:close/>
                <a:moveTo>
                  <a:pt x="11855021" y="713601"/>
                </a:moveTo>
                <a:lnTo>
                  <a:pt x="11855284" y="713794"/>
                </a:lnTo>
                <a:lnTo>
                  <a:pt x="11855021" y="713860"/>
                </a:lnTo>
                <a:cubicBezTo>
                  <a:pt x="11855021" y="713860"/>
                  <a:pt x="11855021" y="713860"/>
                  <a:pt x="11855021" y="713601"/>
                </a:cubicBezTo>
                <a:close/>
                <a:moveTo>
                  <a:pt x="11847209" y="704235"/>
                </a:moveTo>
                <a:cubicBezTo>
                  <a:pt x="11851428" y="704235"/>
                  <a:pt x="11851428" y="704235"/>
                  <a:pt x="11851428" y="704235"/>
                </a:cubicBezTo>
                <a:cubicBezTo>
                  <a:pt x="11853608" y="704235"/>
                  <a:pt x="11857190" y="704235"/>
                  <a:pt x="11857190" y="707699"/>
                </a:cubicBezTo>
                <a:cubicBezTo>
                  <a:pt x="11857190" y="711162"/>
                  <a:pt x="11853478" y="711162"/>
                  <a:pt x="11851817" y="711162"/>
                </a:cubicBezTo>
                <a:cubicBezTo>
                  <a:pt x="11847209" y="711162"/>
                  <a:pt x="11847209" y="711162"/>
                  <a:pt x="11847209" y="711162"/>
                </a:cubicBezTo>
                <a:close/>
                <a:moveTo>
                  <a:pt x="11843627" y="701020"/>
                </a:moveTo>
                <a:lnTo>
                  <a:pt x="11843627" y="724250"/>
                </a:lnTo>
                <a:cubicBezTo>
                  <a:pt x="11847468" y="724250"/>
                  <a:pt x="11847468" y="724250"/>
                  <a:pt x="11847468" y="724250"/>
                </a:cubicBezTo>
                <a:cubicBezTo>
                  <a:pt x="11847468" y="714367"/>
                  <a:pt x="11847468" y="714367"/>
                  <a:pt x="11847468" y="714367"/>
                </a:cubicBezTo>
                <a:cubicBezTo>
                  <a:pt x="11849648" y="714367"/>
                  <a:pt x="11849648" y="714367"/>
                  <a:pt x="11849648" y="714367"/>
                </a:cubicBezTo>
                <a:cubicBezTo>
                  <a:pt x="11852723" y="714367"/>
                  <a:pt x="11853867" y="715521"/>
                  <a:pt x="11856553" y="720528"/>
                </a:cubicBezTo>
                <a:cubicBezTo>
                  <a:pt x="11858603" y="724121"/>
                  <a:pt x="11858603" y="724121"/>
                  <a:pt x="11858603" y="724121"/>
                </a:cubicBezTo>
                <a:cubicBezTo>
                  <a:pt x="11863081" y="724121"/>
                  <a:pt x="11863081" y="724121"/>
                  <a:pt x="11863081" y="724121"/>
                </a:cubicBezTo>
                <a:cubicBezTo>
                  <a:pt x="11860265" y="719503"/>
                  <a:pt x="11860265" y="719503"/>
                  <a:pt x="11860265" y="719503"/>
                </a:cubicBezTo>
                <a:cubicBezTo>
                  <a:pt x="11858857" y="717258"/>
                  <a:pt x="11857864" y="715942"/>
                  <a:pt x="11857064" y="715107"/>
                </a:cubicBezTo>
                <a:lnTo>
                  <a:pt x="11855284" y="713794"/>
                </a:lnTo>
                <a:lnTo>
                  <a:pt x="11858039" y="713106"/>
                </a:lnTo>
                <a:cubicBezTo>
                  <a:pt x="11860542" y="711860"/>
                  <a:pt x="11861549" y="709333"/>
                  <a:pt x="11861549" y="707310"/>
                </a:cubicBezTo>
                <a:cubicBezTo>
                  <a:pt x="11861549" y="705390"/>
                  <a:pt x="11860653" y="703717"/>
                  <a:pt x="11859370" y="702822"/>
                </a:cubicBezTo>
                <a:cubicBezTo>
                  <a:pt x="11857449" y="701020"/>
                  <a:pt x="11854385" y="701020"/>
                  <a:pt x="11851817" y="701020"/>
                </a:cubicBezTo>
                <a:cubicBezTo>
                  <a:pt x="11843627" y="701020"/>
                  <a:pt x="11843627" y="701020"/>
                  <a:pt x="11843627" y="701020"/>
                </a:cubicBezTo>
                <a:close/>
                <a:moveTo>
                  <a:pt x="11852712" y="694611"/>
                </a:moveTo>
                <a:cubicBezTo>
                  <a:pt x="11862563" y="694611"/>
                  <a:pt x="11870623" y="702563"/>
                  <a:pt x="11870623" y="712446"/>
                </a:cubicBezTo>
                <a:cubicBezTo>
                  <a:pt x="11870623" y="722330"/>
                  <a:pt x="11862693" y="730541"/>
                  <a:pt x="11852712" y="730541"/>
                </a:cubicBezTo>
                <a:cubicBezTo>
                  <a:pt x="11842861" y="730541"/>
                  <a:pt x="11834931" y="722330"/>
                  <a:pt x="11834931" y="712446"/>
                </a:cubicBezTo>
                <a:cubicBezTo>
                  <a:pt x="11834801" y="702563"/>
                  <a:pt x="11842732" y="694611"/>
                  <a:pt x="11852712" y="694611"/>
                </a:cubicBezTo>
                <a:close/>
                <a:moveTo>
                  <a:pt x="11852712" y="690888"/>
                </a:moveTo>
                <a:cubicBezTo>
                  <a:pt x="11840940" y="690888"/>
                  <a:pt x="11831348" y="700513"/>
                  <a:pt x="11831348" y="712446"/>
                </a:cubicBezTo>
                <a:cubicBezTo>
                  <a:pt x="11831348" y="724509"/>
                  <a:pt x="11840940" y="734004"/>
                  <a:pt x="11852712" y="734004"/>
                </a:cubicBezTo>
                <a:cubicBezTo>
                  <a:pt x="11864613" y="734004"/>
                  <a:pt x="11874076" y="724250"/>
                  <a:pt x="11874076" y="712446"/>
                </a:cubicBezTo>
                <a:cubicBezTo>
                  <a:pt x="11874076" y="700642"/>
                  <a:pt x="11864484" y="690888"/>
                  <a:pt x="11852712" y="690888"/>
                </a:cubicBezTo>
                <a:close/>
                <a:moveTo>
                  <a:pt x="11639380" y="551044"/>
                </a:moveTo>
                <a:cubicBezTo>
                  <a:pt x="11639972" y="550996"/>
                  <a:pt x="11640676" y="551284"/>
                  <a:pt x="11641189" y="551862"/>
                </a:cubicBezTo>
                <a:cubicBezTo>
                  <a:pt x="11649011" y="560062"/>
                  <a:pt x="11646325" y="621974"/>
                  <a:pt x="11644652" y="634274"/>
                </a:cubicBezTo>
                <a:cubicBezTo>
                  <a:pt x="11644264" y="637349"/>
                  <a:pt x="11641448" y="639788"/>
                  <a:pt x="11640682" y="633508"/>
                </a:cubicBezTo>
                <a:cubicBezTo>
                  <a:pt x="11639786" y="625567"/>
                  <a:pt x="11635557" y="607235"/>
                  <a:pt x="11634273" y="599671"/>
                </a:cubicBezTo>
                <a:cubicBezTo>
                  <a:pt x="11632859" y="592496"/>
                  <a:pt x="11636841" y="570582"/>
                  <a:pt x="11638243" y="552250"/>
                </a:cubicBezTo>
                <a:cubicBezTo>
                  <a:pt x="11638308" y="551479"/>
                  <a:pt x="11638788" y="551093"/>
                  <a:pt x="11639380" y="551044"/>
                </a:cubicBezTo>
                <a:close/>
                <a:moveTo>
                  <a:pt x="11490639" y="502002"/>
                </a:moveTo>
                <a:cubicBezTo>
                  <a:pt x="11510395" y="504700"/>
                  <a:pt x="11530399" y="505207"/>
                  <a:pt x="11550015" y="504052"/>
                </a:cubicBezTo>
                <a:cubicBezTo>
                  <a:pt x="11553220" y="516223"/>
                  <a:pt x="11552831" y="532116"/>
                  <a:pt x="11548343" y="536605"/>
                </a:cubicBezTo>
                <a:cubicBezTo>
                  <a:pt x="11541157" y="543910"/>
                  <a:pt x="11508722" y="542496"/>
                  <a:pt x="11499486" y="541094"/>
                </a:cubicBezTo>
                <a:cubicBezTo>
                  <a:pt x="11496918" y="540705"/>
                  <a:pt x="11494361" y="540327"/>
                  <a:pt x="11492948" y="533659"/>
                </a:cubicBezTo>
                <a:cubicBezTo>
                  <a:pt x="11491405" y="525837"/>
                  <a:pt x="11491275" y="511486"/>
                  <a:pt x="11490639" y="502002"/>
                </a:cubicBezTo>
                <a:close/>
                <a:moveTo>
                  <a:pt x="11594253" y="498797"/>
                </a:moveTo>
                <a:cubicBezTo>
                  <a:pt x="11599767" y="509048"/>
                  <a:pt x="11600155" y="514950"/>
                  <a:pt x="11598612" y="520075"/>
                </a:cubicBezTo>
                <a:cubicBezTo>
                  <a:pt x="11597069" y="525200"/>
                  <a:pt x="11589894" y="528146"/>
                  <a:pt x="11588351" y="527509"/>
                </a:cubicBezTo>
                <a:cubicBezTo>
                  <a:pt x="11588092" y="516482"/>
                  <a:pt x="11585147" y="508152"/>
                  <a:pt x="11580011" y="500718"/>
                </a:cubicBezTo>
                <a:cubicBezTo>
                  <a:pt x="11584510" y="499952"/>
                  <a:pt x="11589257" y="499315"/>
                  <a:pt x="11594253" y="498797"/>
                </a:cubicBezTo>
                <a:close/>
                <a:moveTo>
                  <a:pt x="11441405" y="491374"/>
                </a:moveTo>
                <a:cubicBezTo>
                  <a:pt x="11447684" y="493295"/>
                  <a:pt x="11454104" y="494967"/>
                  <a:pt x="11460384" y="496499"/>
                </a:cubicBezTo>
                <a:cubicBezTo>
                  <a:pt x="11456025" y="524056"/>
                  <a:pt x="11447436" y="531868"/>
                  <a:pt x="11442948" y="533670"/>
                </a:cubicBezTo>
                <a:cubicBezTo>
                  <a:pt x="11439473" y="535073"/>
                  <a:pt x="11431910" y="535839"/>
                  <a:pt x="11434607" y="527131"/>
                </a:cubicBezTo>
                <a:cubicBezTo>
                  <a:pt x="11437305" y="518413"/>
                  <a:pt x="11439862" y="503545"/>
                  <a:pt x="11441405" y="491374"/>
                </a:cubicBezTo>
                <a:close/>
                <a:moveTo>
                  <a:pt x="11419441" y="484343"/>
                </a:moveTo>
                <a:cubicBezTo>
                  <a:pt x="11421606" y="484488"/>
                  <a:pt x="11425004" y="485801"/>
                  <a:pt x="11431543" y="488299"/>
                </a:cubicBezTo>
                <a:cubicBezTo>
                  <a:pt x="11430647" y="509447"/>
                  <a:pt x="11425263" y="521499"/>
                  <a:pt x="11423202" y="532257"/>
                </a:cubicBezTo>
                <a:cubicBezTo>
                  <a:pt x="11420893" y="543284"/>
                  <a:pt x="11433204" y="545841"/>
                  <a:pt x="11444102" y="543154"/>
                </a:cubicBezTo>
                <a:cubicBezTo>
                  <a:pt x="11454870" y="540468"/>
                  <a:pt x="11465132" y="529181"/>
                  <a:pt x="11469620" y="498549"/>
                </a:cubicBezTo>
                <a:cubicBezTo>
                  <a:pt x="11473850" y="499574"/>
                  <a:pt x="11477313" y="500092"/>
                  <a:pt x="11481672" y="500729"/>
                </a:cubicBezTo>
                <a:cubicBezTo>
                  <a:pt x="11482190" y="532516"/>
                  <a:pt x="11484111" y="539691"/>
                  <a:pt x="11485395" y="542507"/>
                </a:cubicBezTo>
                <a:cubicBezTo>
                  <a:pt x="11487833" y="548398"/>
                  <a:pt x="11493735" y="550330"/>
                  <a:pt x="11498472" y="550707"/>
                </a:cubicBezTo>
                <a:cubicBezTo>
                  <a:pt x="11523353" y="552628"/>
                  <a:pt x="11547458" y="551862"/>
                  <a:pt x="11555917" y="543532"/>
                </a:cubicBezTo>
                <a:cubicBezTo>
                  <a:pt x="11564506" y="535073"/>
                  <a:pt x="11561560" y="514443"/>
                  <a:pt x="11559122" y="503286"/>
                </a:cubicBezTo>
                <a:cubicBezTo>
                  <a:pt x="11563092" y="502898"/>
                  <a:pt x="11566308" y="502520"/>
                  <a:pt x="11570149" y="502002"/>
                </a:cubicBezTo>
                <a:cubicBezTo>
                  <a:pt x="11578360" y="511486"/>
                  <a:pt x="11579385" y="521866"/>
                  <a:pt x="11579385" y="528405"/>
                </a:cubicBezTo>
                <a:cubicBezTo>
                  <a:pt x="11579385" y="535709"/>
                  <a:pt x="11587466" y="539551"/>
                  <a:pt x="11598752" y="531739"/>
                </a:cubicBezTo>
                <a:cubicBezTo>
                  <a:pt x="11609909" y="523916"/>
                  <a:pt x="11608884" y="510202"/>
                  <a:pt x="11602723" y="497772"/>
                </a:cubicBezTo>
                <a:cubicBezTo>
                  <a:pt x="11628371" y="495722"/>
                  <a:pt x="11627086" y="512511"/>
                  <a:pt x="11625673" y="533282"/>
                </a:cubicBezTo>
                <a:cubicBezTo>
                  <a:pt x="11624389" y="553793"/>
                  <a:pt x="11619771" y="582882"/>
                  <a:pt x="11612855" y="586216"/>
                </a:cubicBezTo>
                <a:cubicBezTo>
                  <a:pt x="11605798" y="589162"/>
                  <a:pt x="11594771" y="570323"/>
                  <a:pt x="11537326" y="569427"/>
                </a:cubicBezTo>
                <a:cubicBezTo>
                  <a:pt x="11496551" y="568661"/>
                  <a:pt x="11465261" y="574175"/>
                  <a:pt x="11459488" y="611465"/>
                </a:cubicBezTo>
                <a:cubicBezTo>
                  <a:pt x="11459100" y="614151"/>
                  <a:pt x="11457568" y="613774"/>
                  <a:pt x="11456154" y="612360"/>
                </a:cubicBezTo>
                <a:cubicBezTo>
                  <a:pt x="11444998" y="600189"/>
                  <a:pt x="11434737" y="594676"/>
                  <a:pt x="11418325" y="585191"/>
                </a:cubicBezTo>
                <a:cubicBezTo>
                  <a:pt x="11401785" y="575448"/>
                  <a:pt x="11390757" y="562382"/>
                  <a:pt x="11388707" y="549434"/>
                </a:cubicBezTo>
                <a:cubicBezTo>
                  <a:pt x="11386657" y="536486"/>
                  <a:pt x="11391405" y="519190"/>
                  <a:pt x="11414743" y="487403"/>
                </a:cubicBezTo>
                <a:cubicBezTo>
                  <a:pt x="11416346" y="485224"/>
                  <a:pt x="11417276" y="484199"/>
                  <a:pt x="11419441" y="484343"/>
                </a:cubicBezTo>
                <a:close/>
                <a:moveTo>
                  <a:pt x="11358173" y="469801"/>
                </a:moveTo>
                <a:cubicBezTo>
                  <a:pt x="11352402" y="469752"/>
                  <a:pt x="11342133" y="472433"/>
                  <a:pt x="11346260" y="478275"/>
                </a:cubicBezTo>
                <a:cubicBezTo>
                  <a:pt x="11351763" y="486314"/>
                  <a:pt x="11362639" y="473042"/>
                  <a:pt x="11361744" y="470744"/>
                </a:cubicBezTo>
                <a:cubicBezTo>
                  <a:pt x="11361520" y="470137"/>
                  <a:pt x="11360096" y="469817"/>
                  <a:pt x="11358173" y="469801"/>
                </a:cubicBezTo>
                <a:close/>
                <a:moveTo>
                  <a:pt x="11354455" y="453696"/>
                </a:moveTo>
                <a:cubicBezTo>
                  <a:pt x="11359222" y="452705"/>
                  <a:pt x="11365520" y="456094"/>
                  <a:pt x="11379471" y="464454"/>
                </a:cubicBezTo>
                <a:cubicBezTo>
                  <a:pt x="11402044" y="478167"/>
                  <a:pt x="11408971" y="475351"/>
                  <a:pt x="11401267" y="487522"/>
                </a:cubicBezTo>
                <a:cubicBezTo>
                  <a:pt x="11396519" y="495345"/>
                  <a:pt x="11380486" y="516104"/>
                  <a:pt x="11376515" y="541611"/>
                </a:cubicBezTo>
                <a:cubicBezTo>
                  <a:pt x="11371131" y="534436"/>
                  <a:pt x="11363815" y="516622"/>
                  <a:pt x="11357665" y="511745"/>
                </a:cubicBezTo>
                <a:cubicBezTo>
                  <a:pt x="11345613" y="502261"/>
                  <a:pt x="11335222" y="509566"/>
                  <a:pt x="11330734" y="504052"/>
                </a:cubicBezTo>
                <a:cubicBezTo>
                  <a:pt x="11325727" y="498031"/>
                  <a:pt x="11323677" y="497643"/>
                  <a:pt x="11328166" y="491881"/>
                </a:cubicBezTo>
                <a:cubicBezTo>
                  <a:pt x="11328166" y="491881"/>
                  <a:pt x="11333550" y="484835"/>
                  <a:pt x="11335600" y="481879"/>
                </a:cubicBezTo>
                <a:cubicBezTo>
                  <a:pt x="11337909" y="478804"/>
                  <a:pt x="11337272" y="473031"/>
                  <a:pt x="11338297" y="470604"/>
                </a:cubicBezTo>
                <a:cubicBezTo>
                  <a:pt x="11339193" y="468165"/>
                  <a:pt x="11344707" y="460861"/>
                  <a:pt x="11349972" y="456124"/>
                </a:cubicBezTo>
                <a:cubicBezTo>
                  <a:pt x="11351448" y="454843"/>
                  <a:pt x="11352866" y="454026"/>
                  <a:pt x="11354455" y="453696"/>
                </a:cubicBezTo>
                <a:close/>
                <a:moveTo>
                  <a:pt x="11324025" y="392924"/>
                </a:moveTo>
                <a:cubicBezTo>
                  <a:pt x="11322935" y="393149"/>
                  <a:pt x="11322134" y="395329"/>
                  <a:pt x="11322134" y="400006"/>
                </a:cubicBezTo>
                <a:cubicBezTo>
                  <a:pt x="11322134" y="423463"/>
                  <a:pt x="11332395" y="437555"/>
                  <a:pt x="11335988" y="441536"/>
                </a:cubicBezTo>
                <a:cubicBezTo>
                  <a:pt x="11339452" y="445507"/>
                  <a:pt x="11341114" y="449477"/>
                  <a:pt x="11339193" y="451786"/>
                </a:cubicBezTo>
                <a:cubicBezTo>
                  <a:pt x="11334068" y="457807"/>
                  <a:pt x="11328554" y="464475"/>
                  <a:pt x="11328425" y="467162"/>
                </a:cubicBezTo>
                <a:cubicBezTo>
                  <a:pt x="11328166" y="470107"/>
                  <a:pt x="11328425" y="471521"/>
                  <a:pt x="11327270" y="474855"/>
                </a:cubicBezTo>
                <a:cubicBezTo>
                  <a:pt x="11326116" y="478059"/>
                  <a:pt x="11322016" y="482796"/>
                  <a:pt x="11315477" y="490748"/>
                </a:cubicBezTo>
                <a:cubicBezTo>
                  <a:pt x="11311884" y="495366"/>
                  <a:pt x="11314193" y="500362"/>
                  <a:pt x="11317268" y="503696"/>
                </a:cubicBezTo>
                <a:cubicBezTo>
                  <a:pt x="11320861" y="507796"/>
                  <a:pt x="11323300" y="512544"/>
                  <a:pt x="11327788" y="514594"/>
                </a:cubicBezTo>
                <a:cubicBezTo>
                  <a:pt x="11332406" y="516644"/>
                  <a:pt x="11336506" y="515230"/>
                  <a:pt x="11341890" y="516137"/>
                </a:cubicBezTo>
                <a:cubicBezTo>
                  <a:pt x="11347016" y="517032"/>
                  <a:pt x="11353436" y="520107"/>
                  <a:pt x="11358561" y="529214"/>
                </a:cubicBezTo>
                <a:cubicBezTo>
                  <a:pt x="11365995" y="542539"/>
                  <a:pt x="11373947" y="563310"/>
                  <a:pt x="11388308" y="580476"/>
                </a:cubicBezTo>
                <a:cubicBezTo>
                  <a:pt x="11394717" y="588040"/>
                  <a:pt x="11394717" y="602013"/>
                  <a:pt x="11394717" y="606490"/>
                </a:cubicBezTo>
                <a:cubicBezTo>
                  <a:pt x="11395106" y="646736"/>
                  <a:pt x="11374076" y="684803"/>
                  <a:pt x="11360611" y="709026"/>
                </a:cubicBezTo>
                <a:cubicBezTo>
                  <a:pt x="11357406" y="714669"/>
                  <a:pt x="11358172" y="719406"/>
                  <a:pt x="11362402" y="719406"/>
                </a:cubicBezTo>
                <a:cubicBezTo>
                  <a:pt x="11367279" y="719406"/>
                  <a:pt x="11385481" y="719406"/>
                  <a:pt x="11388567" y="719406"/>
                </a:cubicBezTo>
                <a:cubicBezTo>
                  <a:pt x="11391901" y="719406"/>
                  <a:pt x="11393951" y="715813"/>
                  <a:pt x="11394210" y="711972"/>
                </a:cubicBezTo>
                <a:cubicBezTo>
                  <a:pt x="11396519" y="679030"/>
                  <a:pt x="11415110" y="618661"/>
                  <a:pt x="11429094" y="608411"/>
                </a:cubicBezTo>
                <a:cubicBezTo>
                  <a:pt x="11452561" y="623150"/>
                  <a:pt x="11475900" y="654678"/>
                  <a:pt x="11464484" y="709921"/>
                </a:cubicBezTo>
                <a:cubicBezTo>
                  <a:pt x="11463966" y="712997"/>
                  <a:pt x="11461150" y="719665"/>
                  <a:pt x="11468207" y="719665"/>
                </a:cubicBezTo>
                <a:cubicBezTo>
                  <a:pt x="11468207" y="719665"/>
                  <a:pt x="11488082" y="719665"/>
                  <a:pt x="11490650" y="719665"/>
                </a:cubicBezTo>
                <a:cubicBezTo>
                  <a:pt x="11493595" y="719665"/>
                  <a:pt x="11498343" y="718510"/>
                  <a:pt x="11497954" y="713126"/>
                </a:cubicBezTo>
                <a:cubicBezTo>
                  <a:pt x="11496800" y="691590"/>
                  <a:pt x="11478716" y="646100"/>
                  <a:pt x="11473979" y="619309"/>
                </a:cubicBezTo>
                <a:cubicBezTo>
                  <a:pt x="11471034" y="602390"/>
                  <a:pt x="11484499" y="572147"/>
                  <a:pt x="11535276" y="595345"/>
                </a:cubicBezTo>
                <a:cubicBezTo>
                  <a:pt x="11554773" y="577790"/>
                  <a:pt x="11580421" y="588428"/>
                  <a:pt x="11569383" y="622136"/>
                </a:cubicBezTo>
                <a:cubicBezTo>
                  <a:pt x="11558614" y="655714"/>
                  <a:pt x="11549249" y="670452"/>
                  <a:pt x="11512315" y="709932"/>
                </a:cubicBezTo>
                <a:cubicBezTo>
                  <a:pt x="11508215" y="714550"/>
                  <a:pt x="11507827" y="719417"/>
                  <a:pt x="11514624" y="719417"/>
                </a:cubicBezTo>
                <a:cubicBezTo>
                  <a:pt x="11517958" y="719417"/>
                  <a:pt x="11534888" y="719417"/>
                  <a:pt x="11538351" y="719417"/>
                </a:cubicBezTo>
                <a:cubicBezTo>
                  <a:pt x="11543476" y="719417"/>
                  <a:pt x="11545537" y="717874"/>
                  <a:pt x="11547069" y="713903"/>
                </a:cubicBezTo>
                <a:cubicBezTo>
                  <a:pt x="11548483" y="709673"/>
                  <a:pt x="11565412" y="656102"/>
                  <a:pt x="11598623" y="630983"/>
                </a:cubicBezTo>
                <a:cubicBezTo>
                  <a:pt x="11601191" y="629063"/>
                  <a:pt x="11603371" y="620474"/>
                  <a:pt x="11608496" y="600869"/>
                </a:cubicBezTo>
                <a:cubicBezTo>
                  <a:pt x="11624529" y="622017"/>
                  <a:pt x="11626709" y="660461"/>
                  <a:pt x="11599130" y="710062"/>
                </a:cubicBezTo>
                <a:cubicBezTo>
                  <a:pt x="11596314" y="715316"/>
                  <a:pt x="11597976" y="719287"/>
                  <a:pt x="11601439" y="719287"/>
                </a:cubicBezTo>
                <a:cubicBezTo>
                  <a:pt x="11603360" y="719287"/>
                  <a:pt x="11618368" y="719287"/>
                  <a:pt x="11622857" y="719287"/>
                </a:cubicBezTo>
                <a:cubicBezTo>
                  <a:pt x="11626828" y="719287"/>
                  <a:pt x="11627982" y="717107"/>
                  <a:pt x="11629525" y="711087"/>
                </a:cubicBezTo>
                <a:cubicBezTo>
                  <a:pt x="11631446" y="703653"/>
                  <a:pt x="11632093" y="700060"/>
                  <a:pt x="11634650" y="693014"/>
                </a:cubicBezTo>
                <a:cubicBezTo>
                  <a:pt x="11636193" y="688655"/>
                  <a:pt x="11636830" y="687889"/>
                  <a:pt x="11654018" y="688018"/>
                </a:cubicBezTo>
                <a:cubicBezTo>
                  <a:pt x="11659402" y="688018"/>
                  <a:pt x="11659024" y="685202"/>
                  <a:pt x="11659024" y="680584"/>
                </a:cubicBezTo>
                <a:cubicBezTo>
                  <a:pt x="11659272" y="614151"/>
                  <a:pt x="11659661" y="544687"/>
                  <a:pt x="11654654" y="520852"/>
                </a:cubicBezTo>
                <a:cubicBezTo>
                  <a:pt x="11647727" y="487403"/>
                  <a:pt x="11618617" y="486378"/>
                  <a:pt x="11603360" y="487533"/>
                </a:cubicBezTo>
                <a:cubicBezTo>
                  <a:pt x="11587456" y="488688"/>
                  <a:pt x="11557449" y="493424"/>
                  <a:pt x="11526547" y="493424"/>
                </a:cubicBezTo>
                <a:cubicBezTo>
                  <a:pt x="11484866" y="493424"/>
                  <a:pt x="11437930" y="481631"/>
                  <a:pt x="11402033" y="464842"/>
                </a:cubicBezTo>
                <a:cubicBezTo>
                  <a:pt x="11395753" y="462026"/>
                  <a:pt x="11398958" y="460742"/>
                  <a:pt x="11401644" y="459199"/>
                </a:cubicBezTo>
                <a:cubicBezTo>
                  <a:pt x="11415110" y="451765"/>
                  <a:pt x="11426774" y="445097"/>
                  <a:pt x="11433960" y="433314"/>
                </a:cubicBezTo>
                <a:cubicBezTo>
                  <a:pt x="11439473" y="424348"/>
                  <a:pt x="11437423" y="421521"/>
                  <a:pt x="11431392" y="426398"/>
                </a:cubicBezTo>
                <a:cubicBezTo>
                  <a:pt x="11415110" y="439982"/>
                  <a:pt x="11391890" y="447546"/>
                  <a:pt x="11365995" y="438191"/>
                </a:cubicBezTo>
                <a:cubicBezTo>
                  <a:pt x="11339959" y="428966"/>
                  <a:pt x="11329957" y="403847"/>
                  <a:pt x="11327648" y="397568"/>
                </a:cubicBezTo>
                <a:cubicBezTo>
                  <a:pt x="11326493" y="394428"/>
                  <a:pt x="11325115" y="392699"/>
                  <a:pt x="11324025" y="392924"/>
                </a:cubicBezTo>
                <a:close/>
                <a:moveTo>
                  <a:pt x="11391491" y="334037"/>
                </a:moveTo>
                <a:cubicBezTo>
                  <a:pt x="11410848" y="334037"/>
                  <a:pt x="11426364" y="349790"/>
                  <a:pt x="11426364" y="368996"/>
                </a:cubicBezTo>
                <a:cubicBezTo>
                  <a:pt x="11426364" y="388332"/>
                  <a:pt x="11410848" y="403955"/>
                  <a:pt x="11391491" y="403955"/>
                </a:cubicBezTo>
                <a:cubicBezTo>
                  <a:pt x="11372134" y="403955"/>
                  <a:pt x="11356360" y="388332"/>
                  <a:pt x="11356360" y="368996"/>
                </a:cubicBezTo>
                <a:cubicBezTo>
                  <a:pt x="11356360" y="349542"/>
                  <a:pt x="11372134" y="334037"/>
                  <a:pt x="11391491" y="334037"/>
                </a:cubicBezTo>
                <a:close/>
                <a:moveTo>
                  <a:pt x="11389959" y="321618"/>
                </a:moveTo>
                <a:cubicBezTo>
                  <a:pt x="11360729" y="321618"/>
                  <a:pt x="11337262" y="345442"/>
                  <a:pt x="11337262" y="374510"/>
                </a:cubicBezTo>
                <a:cubicBezTo>
                  <a:pt x="11337262" y="403836"/>
                  <a:pt x="11360978" y="427401"/>
                  <a:pt x="11389959" y="427401"/>
                </a:cubicBezTo>
                <a:cubicBezTo>
                  <a:pt x="11419189" y="427401"/>
                  <a:pt x="11442656" y="403577"/>
                  <a:pt x="11442656" y="374510"/>
                </a:cubicBezTo>
                <a:cubicBezTo>
                  <a:pt x="11442656" y="345183"/>
                  <a:pt x="11419189" y="321618"/>
                  <a:pt x="11389959" y="321618"/>
                </a:cubicBez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close/>
              </a:path>
            </a:pathLst>
          </a:custGeom>
          <a:solidFill>
            <a:srgbClr val="D4D7DC"/>
          </a:solidFill>
        </p:spPr>
        <p:txBody>
          <a:bodyPr wrap="square" tIns="7200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C3EE7D-BC64-44D4-965B-AAAA5C4BD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1" y="648000"/>
            <a:ext cx="8652001" cy="5562000"/>
          </a:xfrm>
        </p:spPr>
        <p:txBody>
          <a:bodyPr anchor="ctr"/>
          <a:lstStyle>
            <a:lvl1pPr>
              <a:lnSpc>
                <a:spcPct val="120000"/>
              </a:lnSpc>
              <a:defRPr sz="9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2E69A22-4168-4C89-915E-68554934A99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24000" y="3429000"/>
            <a:ext cx="1920000" cy="2781000"/>
          </a:xfrm>
        </p:spPr>
        <p:txBody>
          <a:bodyPr anchor="t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2E73A1B-874D-4A61-944C-6104EF22B9D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25AD49-0AE1-418F-977B-D291FD79DB53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123DF4B-C0EB-448C-B355-2743629DD45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92667E6-AA52-4ED3-B122-113FB4F8CA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152DA9A1-3FA7-4BC8-9172-644A881C6F4B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0472078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ditor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8F7754C-3E86-406C-B149-CDBE81C128E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  <a:custGeom>
            <a:avLst/>
            <a:gdLst>
              <a:gd name="connsiteX0" fmla="*/ 11666200 w 12193200"/>
              <a:gd name="connsiteY0" fmla="*/ 756760 h 6861600"/>
              <a:gd name="connsiteX1" fmla="*/ 11678975 w 12193200"/>
              <a:gd name="connsiteY1" fmla="*/ 761119 h 6861600"/>
              <a:gd name="connsiteX2" fmla="*/ 11678975 w 12193200"/>
              <a:gd name="connsiteY2" fmla="*/ 808195 h 6861600"/>
              <a:gd name="connsiteX3" fmla="*/ 11678845 w 12193200"/>
              <a:gd name="connsiteY3" fmla="*/ 808195 h 6861600"/>
              <a:gd name="connsiteX4" fmla="*/ 11667095 w 12193200"/>
              <a:gd name="connsiteY4" fmla="*/ 813579 h 6861600"/>
              <a:gd name="connsiteX5" fmla="*/ 11644998 w 12193200"/>
              <a:gd name="connsiteY5" fmla="*/ 784080 h 6861600"/>
              <a:gd name="connsiteX6" fmla="*/ 11666200 w 12193200"/>
              <a:gd name="connsiteY6" fmla="*/ 756760 h 6861600"/>
              <a:gd name="connsiteX7" fmla="*/ 11553608 w 12193200"/>
              <a:gd name="connsiteY7" fmla="*/ 755951 h 6861600"/>
              <a:gd name="connsiteX8" fmla="*/ 11565369 w 12193200"/>
              <a:gd name="connsiteY8" fmla="*/ 760439 h 6861600"/>
              <a:gd name="connsiteX9" fmla="*/ 11571638 w 12193200"/>
              <a:gd name="connsiteY9" fmla="*/ 784954 h 6861600"/>
              <a:gd name="connsiteX10" fmla="*/ 11565369 w 12193200"/>
              <a:gd name="connsiteY10" fmla="*/ 809339 h 6861600"/>
              <a:gd name="connsiteX11" fmla="*/ 11553608 w 12193200"/>
              <a:gd name="connsiteY11" fmla="*/ 813698 h 6861600"/>
              <a:gd name="connsiteX12" fmla="*/ 11542106 w 12193200"/>
              <a:gd name="connsiteY12" fmla="*/ 809339 h 6861600"/>
              <a:gd name="connsiteX13" fmla="*/ 11535837 w 12193200"/>
              <a:gd name="connsiteY13" fmla="*/ 784954 h 6861600"/>
              <a:gd name="connsiteX14" fmla="*/ 11542106 w 12193200"/>
              <a:gd name="connsiteY14" fmla="*/ 760439 h 6861600"/>
              <a:gd name="connsiteX15" fmla="*/ 11553608 w 12193200"/>
              <a:gd name="connsiteY15" fmla="*/ 755951 h 6861600"/>
              <a:gd name="connsiteX16" fmla="*/ 11389948 w 12193200"/>
              <a:gd name="connsiteY16" fmla="*/ 755951 h 6861600"/>
              <a:gd name="connsiteX17" fmla="*/ 11401504 w 12193200"/>
              <a:gd name="connsiteY17" fmla="*/ 760439 h 6861600"/>
              <a:gd name="connsiteX18" fmla="*/ 11407795 w 12193200"/>
              <a:gd name="connsiteY18" fmla="*/ 784954 h 6861600"/>
              <a:gd name="connsiteX19" fmla="*/ 11401504 w 12193200"/>
              <a:gd name="connsiteY19" fmla="*/ 809339 h 6861600"/>
              <a:gd name="connsiteX20" fmla="*/ 11389948 w 12193200"/>
              <a:gd name="connsiteY20" fmla="*/ 813698 h 6861600"/>
              <a:gd name="connsiteX21" fmla="*/ 11378133 w 12193200"/>
              <a:gd name="connsiteY21" fmla="*/ 809339 h 6861600"/>
              <a:gd name="connsiteX22" fmla="*/ 11371843 w 12193200"/>
              <a:gd name="connsiteY22" fmla="*/ 784954 h 6861600"/>
              <a:gd name="connsiteX23" fmla="*/ 11378133 w 12193200"/>
              <a:gd name="connsiteY23" fmla="*/ 760439 h 6861600"/>
              <a:gd name="connsiteX24" fmla="*/ 11389948 w 12193200"/>
              <a:gd name="connsiteY24" fmla="*/ 755951 h 6861600"/>
              <a:gd name="connsiteX25" fmla="*/ 11267462 w 12193200"/>
              <a:gd name="connsiteY25" fmla="*/ 755951 h 6861600"/>
              <a:gd name="connsiteX26" fmla="*/ 11279148 w 12193200"/>
              <a:gd name="connsiteY26" fmla="*/ 760439 h 6861600"/>
              <a:gd name="connsiteX27" fmla="*/ 11285438 w 12193200"/>
              <a:gd name="connsiteY27" fmla="*/ 784954 h 6861600"/>
              <a:gd name="connsiteX28" fmla="*/ 11279148 w 12193200"/>
              <a:gd name="connsiteY28" fmla="*/ 809339 h 6861600"/>
              <a:gd name="connsiteX29" fmla="*/ 11267462 w 12193200"/>
              <a:gd name="connsiteY29" fmla="*/ 813698 h 6861600"/>
              <a:gd name="connsiteX30" fmla="*/ 11255907 w 12193200"/>
              <a:gd name="connsiteY30" fmla="*/ 809339 h 6861600"/>
              <a:gd name="connsiteX31" fmla="*/ 11249616 w 12193200"/>
              <a:gd name="connsiteY31" fmla="*/ 784954 h 6861600"/>
              <a:gd name="connsiteX32" fmla="*/ 11255907 w 12193200"/>
              <a:gd name="connsiteY32" fmla="*/ 760439 h 6861600"/>
              <a:gd name="connsiteX33" fmla="*/ 11267462 w 12193200"/>
              <a:gd name="connsiteY33" fmla="*/ 755951 h 6861600"/>
              <a:gd name="connsiteX34" fmla="*/ 11708668 w 12193200"/>
              <a:gd name="connsiteY34" fmla="*/ 750006 h 6861600"/>
              <a:gd name="connsiteX35" fmla="*/ 11706381 w 12193200"/>
              <a:gd name="connsiteY35" fmla="*/ 752433 h 6861600"/>
              <a:gd name="connsiteX36" fmla="*/ 11706381 w 12193200"/>
              <a:gd name="connsiteY36" fmla="*/ 817032 h 6861600"/>
              <a:gd name="connsiteX37" fmla="*/ 11708420 w 12193200"/>
              <a:gd name="connsiteY37" fmla="*/ 819459 h 6861600"/>
              <a:gd name="connsiteX38" fmla="*/ 11715671 w 12193200"/>
              <a:gd name="connsiteY38" fmla="*/ 819459 h 6861600"/>
              <a:gd name="connsiteX39" fmla="*/ 11718206 w 12193200"/>
              <a:gd name="connsiteY39" fmla="*/ 817032 h 6861600"/>
              <a:gd name="connsiteX40" fmla="*/ 11718206 w 12193200"/>
              <a:gd name="connsiteY40" fmla="*/ 752433 h 6861600"/>
              <a:gd name="connsiteX41" fmla="*/ 11715660 w 12193200"/>
              <a:gd name="connsiteY41" fmla="*/ 750006 h 6861600"/>
              <a:gd name="connsiteX42" fmla="*/ 11708668 w 12193200"/>
              <a:gd name="connsiteY42" fmla="*/ 750006 h 6861600"/>
              <a:gd name="connsiteX43" fmla="*/ 11826514 w 12193200"/>
              <a:gd name="connsiteY43" fmla="*/ 749671 h 6861600"/>
              <a:gd name="connsiteX44" fmla="*/ 11822404 w 12193200"/>
              <a:gd name="connsiteY44" fmla="*/ 751851 h 6861600"/>
              <a:gd name="connsiteX45" fmla="*/ 11798623 w 12193200"/>
              <a:gd name="connsiteY45" fmla="*/ 781695 h 6861600"/>
              <a:gd name="connsiteX46" fmla="*/ 11798105 w 12193200"/>
              <a:gd name="connsiteY46" fmla="*/ 782461 h 6861600"/>
              <a:gd name="connsiteX47" fmla="*/ 11798234 w 12193200"/>
              <a:gd name="connsiteY47" fmla="*/ 783227 h 6861600"/>
              <a:gd name="connsiteX48" fmla="*/ 11822145 w 12193200"/>
              <a:gd name="connsiteY48" fmla="*/ 817420 h 6861600"/>
              <a:gd name="connsiteX49" fmla="*/ 11826126 w 12193200"/>
              <a:gd name="connsiteY49" fmla="*/ 819470 h 6861600"/>
              <a:gd name="connsiteX50" fmla="*/ 11835254 w 12193200"/>
              <a:gd name="connsiteY50" fmla="*/ 819470 h 6861600"/>
              <a:gd name="connsiteX51" fmla="*/ 11837175 w 12193200"/>
              <a:gd name="connsiteY51" fmla="*/ 817798 h 6861600"/>
              <a:gd name="connsiteX52" fmla="*/ 11836279 w 12193200"/>
              <a:gd name="connsiteY52" fmla="*/ 816136 h 6861600"/>
              <a:gd name="connsiteX53" fmla="*/ 11810826 w 12193200"/>
              <a:gd name="connsiteY53" fmla="*/ 782450 h 6861600"/>
              <a:gd name="connsiteX54" fmla="*/ 11810567 w 12193200"/>
              <a:gd name="connsiteY54" fmla="*/ 782192 h 6861600"/>
              <a:gd name="connsiteX55" fmla="*/ 11834607 w 12193200"/>
              <a:gd name="connsiteY55" fmla="*/ 753890 h 6861600"/>
              <a:gd name="connsiteX56" fmla="*/ 11835254 w 12193200"/>
              <a:gd name="connsiteY56" fmla="*/ 751203 h 6861600"/>
              <a:gd name="connsiteX57" fmla="*/ 11832816 w 12193200"/>
              <a:gd name="connsiteY57" fmla="*/ 749671 h 6861600"/>
              <a:gd name="connsiteX58" fmla="*/ 11826514 w 12193200"/>
              <a:gd name="connsiteY58" fmla="*/ 749671 h 6861600"/>
              <a:gd name="connsiteX59" fmla="*/ 11301634 w 12193200"/>
              <a:gd name="connsiteY59" fmla="*/ 749671 h 6861600"/>
              <a:gd name="connsiteX60" fmla="*/ 11299832 w 12193200"/>
              <a:gd name="connsiteY60" fmla="*/ 751462 h 6861600"/>
              <a:gd name="connsiteX61" fmla="*/ 11300350 w 12193200"/>
              <a:gd name="connsiteY61" fmla="*/ 753383 h 6861600"/>
              <a:gd name="connsiteX62" fmla="*/ 11324605 w 12193200"/>
              <a:gd name="connsiteY62" fmla="*/ 817399 h 6861600"/>
              <a:gd name="connsiteX63" fmla="*/ 11326785 w 12193200"/>
              <a:gd name="connsiteY63" fmla="*/ 819449 h 6861600"/>
              <a:gd name="connsiteX64" fmla="*/ 11332050 w 12193200"/>
              <a:gd name="connsiteY64" fmla="*/ 819449 h 6861600"/>
              <a:gd name="connsiteX65" fmla="*/ 11334489 w 12193200"/>
              <a:gd name="connsiteY65" fmla="*/ 817399 h 6861600"/>
              <a:gd name="connsiteX66" fmla="*/ 11358108 w 12193200"/>
              <a:gd name="connsiteY66" fmla="*/ 753135 h 6861600"/>
              <a:gd name="connsiteX67" fmla="*/ 11358366 w 12193200"/>
              <a:gd name="connsiteY67" fmla="*/ 751085 h 6861600"/>
              <a:gd name="connsiteX68" fmla="*/ 11356694 w 12193200"/>
              <a:gd name="connsiteY68" fmla="*/ 749671 h 6861600"/>
              <a:gd name="connsiteX69" fmla="*/ 11350015 w 12193200"/>
              <a:gd name="connsiteY69" fmla="*/ 749671 h 6861600"/>
              <a:gd name="connsiteX70" fmla="*/ 11348343 w 12193200"/>
              <a:gd name="connsiteY70" fmla="*/ 751592 h 6861600"/>
              <a:gd name="connsiteX71" fmla="*/ 11330885 w 12193200"/>
              <a:gd name="connsiteY71" fmla="*/ 802908 h 6861600"/>
              <a:gd name="connsiteX72" fmla="*/ 11312920 w 12193200"/>
              <a:gd name="connsiteY72" fmla="*/ 751851 h 6861600"/>
              <a:gd name="connsiteX73" fmla="*/ 11309845 w 12193200"/>
              <a:gd name="connsiteY73" fmla="*/ 749671 h 6861600"/>
              <a:gd name="connsiteX74" fmla="*/ 11301634 w 12193200"/>
              <a:gd name="connsiteY74" fmla="*/ 749671 h 6861600"/>
              <a:gd name="connsiteX75" fmla="*/ 11754223 w 12193200"/>
              <a:gd name="connsiteY75" fmla="*/ 748506 h 6861600"/>
              <a:gd name="connsiteX76" fmla="*/ 11731241 w 12193200"/>
              <a:gd name="connsiteY76" fmla="*/ 767625 h 6861600"/>
              <a:gd name="connsiteX77" fmla="*/ 11749346 w 12193200"/>
              <a:gd name="connsiteY77" fmla="*/ 788417 h 6861600"/>
              <a:gd name="connsiteX78" fmla="*/ 11764236 w 12193200"/>
              <a:gd name="connsiteY78" fmla="*/ 801894 h 6861600"/>
              <a:gd name="connsiteX79" fmla="*/ 11750500 w 12193200"/>
              <a:gd name="connsiteY79" fmla="*/ 813698 h 6861600"/>
              <a:gd name="connsiteX80" fmla="*/ 11733679 w 12193200"/>
              <a:gd name="connsiteY80" fmla="*/ 806641 h 6861600"/>
              <a:gd name="connsiteX81" fmla="*/ 11728673 w 12193200"/>
              <a:gd name="connsiteY81" fmla="*/ 811130 h 6861600"/>
              <a:gd name="connsiteX82" fmla="*/ 11750241 w 12193200"/>
              <a:gd name="connsiteY82" fmla="*/ 821402 h 6861600"/>
              <a:gd name="connsiteX83" fmla="*/ 11774896 w 12193200"/>
              <a:gd name="connsiteY83" fmla="*/ 800610 h 6861600"/>
              <a:gd name="connsiteX84" fmla="*/ 11741901 w 12193200"/>
              <a:gd name="connsiteY84" fmla="*/ 766471 h 6861600"/>
              <a:gd name="connsiteX85" fmla="*/ 11753457 w 12193200"/>
              <a:gd name="connsiteY85" fmla="*/ 756199 h 6861600"/>
              <a:gd name="connsiteX86" fmla="*/ 11767322 w 12193200"/>
              <a:gd name="connsiteY86" fmla="*/ 761335 h 6861600"/>
              <a:gd name="connsiteX87" fmla="*/ 11772328 w 12193200"/>
              <a:gd name="connsiteY87" fmla="*/ 756587 h 6861600"/>
              <a:gd name="connsiteX88" fmla="*/ 11754223 w 12193200"/>
              <a:gd name="connsiteY88" fmla="*/ 748506 h 6861600"/>
              <a:gd name="connsiteX89" fmla="*/ 11614257 w 12193200"/>
              <a:gd name="connsiteY89" fmla="*/ 748117 h 6861600"/>
              <a:gd name="connsiteX90" fmla="*/ 11599001 w 12193200"/>
              <a:gd name="connsiteY90" fmla="*/ 750167 h 6861600"/>
              <a:gd name="connsiteX91" fmla="*/ 11592721 w 12193200"/>
              <a:gd name="connsiteY91" fmla="*/ 755660 h 6861600"/>
              <a:gd name="connsiteX92" fmla="*/ 11592721 w 12193200"/>
              <a:gd name="connsiteY92" fmla="*/ 816902 h 6861600"/>
              <a:gd name="connsiteX93" fmla="*/ 11595418 w 12193200"/>
              <a:gd name="connsiteY93" fmla="*/ 819071 h 6861600"/>
              <a:gd name="connsiteX94" fmla="*/ 11602216 w 12193200"/>
              <a:gd name="connsiteY94" fmla="*/ 819071 h 6861600"/>
              <a:gd name="connsiteX95" fmla="*/ 11604654 w 12193200"/>
              <a:gd name="connsiteY95" fmla="*/ 816902 h 6861600"/>
              <a:gd name="connsiteX96" fmla="*/ 11604654 w 12193200"/>
              <a:gd name="connsiteY96" fmla="*/ 760774 h 6861600"/>
              <a:gd name="connsiteX97" fmla="*/ 11611452 w 12193200"/>
              <a:gd name="connsiteY97" fmla="*/ 754764 h 6861600"/>
              <a:gd name="connsiteX98" fmla="*/ 11625943 w 12193200"/>
              <a:gd name="connsiteY98" fmla="*/ 761033 h 6861600"/>
              <a:gd name="connsiteX99" fmla="*/ 11631823 w 12193200"/>
              <a:gd name="connsiteY99" fmla="*/ 755152 h 6861600"/>
              <a:gd name="connsiteX100" fmla="*/ 11614257 w 12193200"/>
              <a:gd name="connsiteY100" fmla="*/ 748117 h 6861600"/>
              <a:gd name="connsiteX101" fmla="*/ 11553619 w 12193200"/>
              <a:gd name="connsiteY101" fmla="*/ 748117 h 6861600"/>
              <a:gd name="connsiteX102" fmla="*/ 11536236 w 12193200"/>
              <a:gd name="connsiteY102" fmla="*/ 753124 h 6861600"/>
              <a:gd name="connsiteX103" fmla="*/ 11523450 w 12193200"/>
              <a:gd name="connsiteY103" fmla="*/ 784954 h 6861600"/>
              <a:gd name="connsiteX104" fmla="*/ 11536236 w 12193200"/>
              <a:gd name="connsiteY104" fmla="*/ 816654 h 6861600"/>
              <a:gd name="connsiteX105" fmla="*/ 11553619 w 12193200"/>
              <a:gd name="connsiteY105" fmla="*/ 821531 h 6861600"/>
              <a:gd name="connsiteX106" fmla="*/ 11571001 w 12193200"/>
              <a:gd name="connsiteY106" fmla="*/ 816654 h 6861600"/>
              <a:gd name="connsiteX107" fmla="*/ 11583917 w 12193200"/>
              <a:gd name="connsiteY107" fmla="*/ 784954 h 6861600"/>
              <a:gd name="connsiteX108" fmla="*/ 11571001 w 12193200"/>
              <a:gd name="connsiteY108" fmla="*/ 753124 h 6861600"/>
              <a:gd name="connsiteX109" fmla="*/ 11553619 w 12193200"/>
              <a:gd name="connsiteY109" fmla="*/ 748117 h 6861600"/>
              <a:gd name="connsiteX110" fmla="*/ 11486031 w 12193200"/>
              <a:gd name="connsiteY110" fmla="*/ 748117 h 6861600"/>
              <a:gd name="connsiteX111" fmla="*/ 11465229 w 12193200"/>
              <a:gd name="connsiteY111" fmla="*/ 751452 h 6861600"/>
              <a:gd name="connsiteX112" fmla="*/ 11459230 w 12193200"/>
              <a:gd name="connsiteY112" fmla="*/ 756965 h 6861600"/>
              <a:gd name="connsiteX113" fmla="*/ 11459230 w 12193200"/>
              <a:gd name="connsiteY113" fmla="*/ 817010 h 6861600"/>
              <a:gd name="connsiteX114" fmla="*/ 11461787 w 12193200"/>
              <a:gd name="connsiteY114" fmla="*/ 819449 h 6861600"/>
              <a:gd name="connsiteX115" fmla="*/ 11468422 w 12193200"/>
              <a:gd name="connsiteY115" fmla="*/ 819449 h 6861600"/>
              <a:gd name="connsiteX116" fmla="*/ 11471228 w 12193200"/>
              <a:gd name="connsiteY116" fmla="*/ 816751 h 6861600"/>
              <a:gd name="connsiteX117" fmla="*/ 11471228 w 12193200"/>
              <a:gd name="connsiteY117" fmla="*/ 761454 h 6861600"/>
              <a:gd name="connsiteX118" fmla="*/ 11485654 w 12193200"/>
              <a:gd name="connsiteY118" fmla="*/ 755422 h 6861600"/>
              <a:gd name="connsiteX119" fmla="*/ 11501223 w 12193200"/>
              <a:gd name="connsiteY119" fmla="*/ 771844 h 6861600"/>
              <a:gd name="connsiteX120" fmla="*/ 11501223 w 12193200"/>
              <a:gd name="connsiteY120" fmla="*/ 816751 h 6861600"/>
              <a:gd name="connsiteX121" fmla="*/ 11504288 w 12193200"/>
              <a:gd name="connsiteY121" fmla="*/ 819449 h 6861600"/>
              <a:gd name="connsiteX122" fmla="*/ 11511690 w 12193200"/>
              <a:gd name="connsiteY122" fmla="*/ 819449 h 6861600"/>
              <a:gd name="connsiteX123" fmla="*/ 11512963 w 12193200"/>
              <a:gd name="connsiteY123" fmla="*/ 816762 h 6861600"/>
              <a:gd name="connsiteX124" fmla="*/ 11512963 w 12193200"/>
              <a:gd name="connsiteY124" fmla="*/ 770312 h 6861600"/>
              <a:gd name="connsiteX125" fmla="*/ 11486031 w 12193200"/>
              <a:gd name="connsiteY125" fmla="*/ 748117 h 6861600"/>
              <a:gd name="connsiteX126" fmla="*/ 11389700 w 12193200"/>
              <a:gd name="connsiteY126" fmla="*/ 748117 h 6861600"/>
              <a:gd name="connsiteX127" fmla="*/ 11372242 w 12193200"/>
              <a:gd name="connsiteY127" fmla="*/ 753124 h 6861600"/>
              <a:gd name="connsiteX128" fmla="*/ 11359402 w 12193200"/>
              <a:gd name="connsiteY128" fmla="*/ 784954 h 6861600"/>
              <a:gd name="connsiteX129" fmla="*/ 11372242 w 12193200"/>
              <a:gd name="connsiteY129" fmla="*/ 816654 h 6861600"/>
              <a:gd name="connsiteX130" fmla="*/ 11389700 w 12193200"/>
              <a:gd name="connsiteY130" fmla="*/ 821531 h 6861600"/>
              <a:gd name="connsiteX131" fmla="*/ 11407158 w 12193200"/>
              <a:gd name="connsiteY131" fmla="*/ 816654 h 6861600"/>
              <a:gd name="connsiteX132" fmla="*/ 11420127 w 12193200"/>
              <a:gd name="connsiteY132" fmla="*/ 784954 h 6861600"/>
              <a:gd name="connsiteX133" fmla="*/ 11407158 w 12193200"/>
              <a:gd name="connsiteY133" fmla="*/ 753124 h 6861600"/>
              <a:gd name="connsiteX134" fmla="*/ 11389700 w 12193200"/>
              <a:gd name="connsiteY134" fmla="*/ 748117 h 6861600"/>
              <a:gd name="connsiteX135" fmla="*/ 11267473 w 12193200"/>
              <a:gd name="connsiteY135" fmla="*/ 748117 h 6861600"/>
              <a:gd name="connsiteX136" fmla="*/ 11250015 w 12193200"/>
              <a:gd name="connsiteY136" fmla="*/ 753124 h 6861600"/>
              <a:gd name="connsiteX137" fmla="*/ 11237046 w 12193200"/>
              <a:gd name="connsiteY137" fmla="*/ 784954 h 6861600"/>
              <a:gd name="connsiteX138" fmla="*/ 11250015 w 12193200"/>
              <a:gd name="connsiteY138" fmla="*/ 816654 h 6861600"/>
              <a:gd name="connsiteX139" fmla="*/ 11267473 w 12193200"/>
              <a:gd name="connsiteY139" fmla="*/ 821531 h 6861600"/>
              <a:gd name="connsiteX140" fmla="*/ 11284931 w 12193200"/>
              <a:gd name="connsiteY140" fmla="*/ 816654 h 6861600"/>
              <a:gd name="connsiteX141" fmla="*/ 11297771 w 12193200"/>
              <a:gd name="connsiteY141" fmla="*/ 784954 h 6861600"/>
              <a:gd name="connsiteX142" fmla="*/ 11284931 w 12193200"/>
              <a:gd name="connsiteY142" fmla="*/ 753124 h 6861600"/>
              <a:gd name="connsiteX143" fmla="*/ 11267473 w 12193200"/>
              <a:gd name="connsiteY143" fmla="*/ 748117 h 6861600"/>
              <a:gd name="connsiteX144" fmla="*/ 11199756 w 12193200"/>
              <a:gd name="connsiteY144" fmla="*/ 748117 h 6861600"/>
              <a:gd name="connsiteX145" fmla="*/ 11178857 w 12193200"/>
              <a:gd name="connsiteY145" fmla="*/ 751452 h 6861600"/>
              <a:gd name="connsiteX146" fmla="*/ 11172825 w 12193200"/>
              <a:gd name="connsiteY146" fmla="*/ 756965 h 6861600"/>
              <a:gd name="connsiteX147" fmla="*/ 11172825 w 12193200"/>
              <a:gd name="connsiteY147" fmla="*/ 817010 h 6861600"/>
              <a:gd name="connsiteX148" fmla="*/ 11175263 w 12193200"/>
              <a:gd name="connsiteY148" fmla="*/ 819449 h 6861600"/>
              <a:gd name="connsiteX149" fmla="*/ 11181932 w 12193200"/>
              <a:gd name="connsiteY149" fmla="*/ 819449 h 6861600"/>
              <a:gd name="connsiteX150" fmla="*/ 11184748 w 12193200"/>
              <a:gd name="connsiteY150" fmla="*/ 816751 h 6861600"/>
              <a:gd name="connsiteX151" fmla="*/ 11184748 w 12193200"/>
              <a:gd name="connsiteY151" fmla="*/ 761454 h 6861600"/>
              <a:gd name="connsiteX152" fmla="*/ 11199238 w 12193200"/>
              <a:gd name="connsiteY152" fmla="*/ 755422 h 6861600"/>
              <a:gd name="connsiteX153" fmla="*/ 11214884 w 12193200"/>
              <a:gd name="connsiteY153" fmla="*/ 771844 h 6861600"/>
              <a:gd name="connsiteX154" fmla="*/ 11214884 w 12193200"/>
              <a:gd name="connsiteY154" fmla="*/ 816751 h 6861600"/>
              <a:gd name="connsiteX155" fmla="*/ 11217959 w 12193200"/>
              <a:gd name="connsiteY155" fmla="*/ 819449 h 6861600"/>
              <a:gd name="connsiteX156" fmla="*/ 11225393 w 12193200"/>
              <a:gd name="connsiteY156" fmla="*/ 819449 h 6861600"/>
              <a:gd name="connsiteX157" fmla="*/ 11226817 w 12193200"/>
              <a:gd name="connsiteY157" fmla="*/ 816762 h 6861600"/>
              <a:gd name="connsiteX158" fmla="*/ 11226817 w 12193200"/>
              <a:gd name="connsiteY158" fmla="*/ 770312 h 6861600"/>
              <a:gd name="connsiteX159" fmla="*/ 11199756 w 12193200"/>
              <a:gd name="connsiteY159" fmla="*/ 748117 h 6861600"/>
              <a:gd name="connsiteX160" fmla="*/ 11681273 w 12193200"/>
              <a:gd name="connsiteY160" fmla="*/ 724801 h 6861600"/>
              <a:gd name="connsiteX161" fmla="*/ 11678845 w 12193200"/>
              <a:gd name="connsiteY161" fmla="*/ 727876 h 6861600"/>
              <a:gd name="connsiteX162" fmla="*/ 11678845 w 12193200"/>
              <a:gd name="connsiteY162" fmla="*/ 752250 h 6861600"/>
              <a:gd name="connsiteX163" fmla="*/ 11664279 w 12193200"/>
              <a:gd name="connsiteY163" fmla="*/ 748527 h 6861600"/>
              <a:gd name="connsiteX164" fmla="*/ 11632848 w 12193200"/>
              <a:gd name="connsiteY164" fmla="*/ 784954 h 6861600"/>
              <a:gd name="connsiteX165" fmla="*/ 11666707 w 12193200"/>
              <a:gd name="connsiteY165" fmla="*/ 821510 h 6861600"/>
              <a:gd name="connsiteX166" fmla="*/ 11690477 w 12193200"/>
              <a:gd name="connsiteY166" fmla="*/ 812036 h 6861600"/>
              <a:gd name="connsiteX167" fmla="*/ 11690477 w 12193200"/>
              <a:gd name="connsiteY167" fmla="*/ 727498 h 6861600"/>
              <a:gd name="connsiteX168" fmla="*/ 11687919 w 12193200"/>
              <a:gd name="connsiteY168" fmla="*/ 724801 h 6861600"/>
              <a:gd name="connsiteX169" fmla="*/ 11681273 w 12193200"/>
              <a:gd name="connsiteY169" fmla="*/ 724801 h 6861600"/>
              <a:gd name="connsiteX170" fmla="*/ 11786797 w 12193200"/>
              <a:gd name="connsiteY170" fmla="*/ 724552 h 6861600"/>
              <a:gd name="connsiteX171" fmla="*/ 11784607 w 12193200"/>
              <a:gd name="connsiteY171" fmla="*/ 726732 h 6861600"/>
              <a:gd name="connsiteX172" fmla="*/ 11784607 w 12193200"/>
              <a:gd name="connsiteY172" fmla="*/ 817280 h 6861600"/>
              <a:gd name="connsiteX173" fmla="*/ 11786797 w 12193200"/>
              <a:gd name="connsiteY173" fmla="*/ 819330 h 6861600"/>
              <a:gd name="connsiteX174" fmla="*/ 11793864 w 12193200"/>
              <a:gd name="connsiteY174" fmla="*/ 819330 h 6861600"/>
              <a:gd name="connsiteX175" fmla="*/ 11796303 w 12193200"/>
              <a:gd name="connsiteY175" fmla="*/ 817409 h 6861600"/>
              <a:gd name="connsiteX176" fmla="*/ 11796303 w 12193200"/>
              <a:gd name="connsiteY176" fmla="*/ 726473 h 6861600"/>
              <a:gd name="connsiteX177" fmla="*/ 11793864 w 12193200"/>
              <a:gd name="connsiteY177" fmla="*/ 724552 h 6861600"/>
              <a:gd name="connsiteX178" fmla="*/ 11786797 w 12193200"/>
              <a:gd name="connsiteY178" fmla="*/ 724552 h 6861600"/>
              <a:gd name="connsiteX179" fmla="*/ 11712617 w 12193200"/>
              <a:gd name="connsiteY179" fmla="*/ 723776 h 6861600"/>
              <a:gd name="connsiteX180" fmla="*/ 11705237 w 12193200"/>
              <a:gd name="connsiteY180" fmla="*/ 730940 h 6861600"/>
              <a:gd name="connsiteX181" fmla="*/ 11712358 w 12193200"/>
              <a:gd name="connsiteY181" fmla="*/ 737975 h 6861600"/>
              <a:gd name="connsiteX182" fmla="*/ 11719609 w 12193200"/>
              <a:gd name="connsiteY182" fmla="*/ 730433 h 6861600"/>
              <a:gd name="connsiteX183" fmla="*/ 11712617 w 12193200"/>
              <a:gd name="connsiteY183" fmla="*/ 723776 h 6861600"/>
              <a:gd name="connsiteX184" fmla="*/ 11855021 w 12193200"/>
              <a:gd name="connsiteY184" fmla="*/ 713601 h 6861600"/>
              <a:gd name="connsiteX185" fmla="*/ 11855284 w 12193200"/>
              <a:gd name="connsiteY185" fmla="*/ 713794 h 6861600"/>
              <a:gd name="connsiteX186" fmla="*/ 11855021 w 12193200"/>
              <a:gd name="connsiteY186" fmla="*/ 713860 h 6861600"/>
              <a:gd name="connsiteX187" fmla="*/ 11855021 w 12193200"/>
              <a:gd name="connsiteY187" fmla="*/ 713601 h 6861600"/>
              <a:gd name="connsiteX188" fmla="*/ 11847209 w 12193200"/>
              <a:gd name="connsiteY188" fmla="*/ 704235 h 6861600"/>
              <a:gd name="connsiteX189" fmla="*/ 11851428 w 12193200"/>
              <a:gd name="connsiteY189" fmla="*/ 704235 h 6861600"/>
              <a:gd name="connsiteX190" fmla="*/ 11857190 w 12193200"/>
              <a:gd name="connsiteY190" fmla="*/ 707699 h 6861600"/>
              <a:gd name="connsiteX191" fmla="*/ 11851817 w 12193200"/>
              <a:gd name="connsiteY191" fmla="*/ 711162 h 6861600"/>
              <a:gd name="connsiteX192" fmla="*/ 11847209 w 12193200"/>
              <a:gd name="connsiteY192" fmla="*/ 711162 h 6861600"/>
              <a:gd name="connsiteX193" fmla="*/ 11843627 w 12193200"/>
              <a:gd name="connsiteY193" fmla="*/ 701020 h 6861600"/>
              <a:gd name="connsiteX194" fmla="*/ 11843627 w 12193200"/>
              <a:gd name="connsiteY194" fmla="*/ 724250 h 6861600"/>
              <a:gd name="connsiteX195" fmla="*/ 11847468 w 12193200"/>
              <a:gd name="connsiteY195" fmla="*/ 724250 h 6861600"/>
              <a:gd name="connsiteX196" fmla="*/ 11847468 w 12193200"/>
              <a:gd name="connsiteY196" fmla="*/ 714367 h 6861600"/>
              <a:gd name="connsiteX197" fmla="*/ 11849648 w 12193200"/>
              <a:gd name="connsiteY197" fmla="*/ 714367 h 6861600"/>
              <a:gd name="connsiteX198" fmla="*/ 11856553 w 12193200"/>
              <a:gd name="connsiteY198" fmla="*/ 720528 h 6861600"/>
              <a:gd name="connsiteX199" fmla="*/ 11858603 w 12193200"/>
              <a:gd name="connsiteY199" fmla="*/ 724121 h 6861600"/>
              <a:gd name="connsiteX200" fmla="*/ 11863081 w 12193200"/>
              <a:gd name="connsiteY200" fmla="*/ 724121 h 6861600"/>
              <a:gd name="connsiteX201" fmla="*/ 11860265 w 12193200"/>
              <a:gd name="connsiteY201" fmla="*/ 719503 h 6861600"/>
              <a:gd name="connsiteX202" fmla="*/ 11857064 w 12193200"/>
              <a:gd name="connsiteY202" fmla="*/ 715107 h 6861600"/>
              <a:gd name="connsiteX203" fmla="*/ 11855284 w 12193200"/>
              <a:gd name="connsiteY203" fmla="*/ 713794 h 6861600"/>
              <a:gd name="connsiteX204" fmla="*/ 11858039 w 12193200"/>
              <a:gd name="connsiteY204" fmla="*/ 713106 h 6861600"/>
              <a:gd name="connsiteX205" fmla="*/ 11861549 w 12193200"/>
              <a:gd name="connsiteY205" fmla="*/ 707310 h 6861600"/>
              <a:gd name="connsiteX206" fmla="*/ 11859370 w 12193200"/>
              <a:gd name="connsiteY206" fmla="*/ 702822 h 6861600"/>
              <a:gd name="connsiteX207" fmla="*/ 11851817 w 12193200"/>
              <a:gd name="connsiteY207" fmla="*/ 701020 h 6861600"/>
              <a:gd name="connsiteX208" fmla="*/ 11843627 w 12193200"/>
              <a:gd name="connsiteY208" fmla="*/ 701020 h 6861600"/>
              <a:gd name="connsiteX209" fmla="*/ 11852712 w 12193200"/>
              <a:gd name="connsiteY209" fmla="*/ 694611 h 6861600"/>
              <a:gd name="connsiteX210" fmla="*/ 11870623 w 12193200"/>
              <a:gd name="connsiteY210" fmla="*/ 712446 h 6861600"/>
              <a:gd name="connsiteX211" fmla="*/ 11852712 w 12193200"/>
              <a:gd name="connsiteY211" fmla="*/ 730541 h 6861600"/>
              <a:gd name="connsiteX212" fmla="*/ 11834931 w 12193200"/>
              <a:gd name="connsiteY212" fmla="*/ 712446 h 6861600"/>
              <a:gd name="connsiteX213" fmla="*/ 11852712 w 12193200"/>
              <a:gd name="connsiteY213" fmla="*/ 694611 h 6861600"/>
              <a:gd name="connsiteX214" fmla="*/ 11852712 w 12193200"/>
              <a:gd name="connsiteY214" fmla="*/ 690888 h 6861600"/>
              <a:gd name="connsiteX215" fmla="*/ 11831348 w 12193200"/>
              <a:gd name="connsiteY215" fmla="*/ 712446 h 6861600"/>
              <a:gd name="connsiteX216" fmla="*/ 11852712 w 12193200"/>
              <a:gd name="connsiteY216" fmla="*/ 734004 h 6861600"/>
              <a:gd name="connsiteX217" fmla="*/ 11874076 w 12193200"/>
              <a:gd name="connsiteY217" fmla="*/ 712446 h 6861600"/>
              <a:gd name="connsiteX218" fmla="*/ 11852712 w 12193200"/>
              <a:gd name="connsiteY218" fmla="*/ 690888 h 6861600"/>
              <a:gd name="connsiteX219" fmla="*/ 11639380 w 12193200"/>
              <a:gd name="connsiteY219" fmla="*/ 551044 h 6861600"/>
              <a:gd name="connsiteX220" fmla="*/ 11641189 w 12193200"/>
              <a:gd name="connsiteY220" fmla="*/ 551862 h 6861600"/>
              <a:gd name="connsiteX221" fmla="*/ 11644652 w 12193200"/>
              <a:gd name="connsiteY221" fmla="*/ 634274 h 6861600"/>
              <a:gd name="connsiteX222" fmla="*/ 11640682 w 12193200"/>
              <a:gd name="connsiteY222" fmla="*/ 633508 h 6861600"/>
              <a:gd name="connsiteX223" fmla="*/ 11634273 w 12193200"/>
              <a:gd name="connsiteY223" fmla="*/ 599671 h 6861600"/>
              <a:gd name="connsiteX224" fmla="*/ 11638243 w 12193200"/>
              <a:gd name="connsiteY224" fmla="*/ 552250 h 6861600"/>
              <a:gd name="connsiteX225" fmla="*/ 11639380 w 12193200"/>
              <a:gd name="connsiteY225" fmla="*/ 551044 h 6861600"/>
              <a:gd name="connsiteX226" fmla="*/ 11490639 w 12193200"/>
              <a:gd name="connsiteY226" fmla="*/ 502002 h 6861600"/>
              <a:gd name="connsiteX227" fmla="*/ 11550015 w 12193200"/>
              <a:gd name="connsiteY227" fmla="*/ 504052 h 6861600"/>
              <a:gd name="connsiteX228" fmla="*/ 11548343 w 12193200"/>
              <a:gd name="connsiteY228" fmla="*/ 536605 h 6861600"/>
              <a:gd name="connsiteX229" fmla="*/ 11499486 w 12193200"/>
              <a:gd name="connsiteY229" fmla="*/ 541094 h 6861600"/>
              <a:gd name="connsiteX230" fmla="*/ 11492948 w 12193200"/>
              <a:gd name="connsiteY230" fmla="*/ 533659 h 6861600"/>
              <a:gd name="connsiteX231" fmla="*/ 11490639 w 12193200"/>
              <a:gd name="connsiteY231" fmla="*/ 502002 h 6861600"/>
              <a:gd name="connsiteX232" fmla="*/ 11594253 w 12193200"/>
              <a:gd name="connsiteY232" fmla="*/ 498797 h 6861600"/>
              <a:gd name="connsiteX233" fmla="*/ 11598612 w 12193200"/>
              <a:gd name="connsiteY233" fmla="*/ 520075 h 6861600"/>
              <a:gd name="connsiteX234" fmla="*/ 11588351 w 12193200"/>
              <a:gd name="connsiteY234" fmla="*/ 527509 h 6861600"/>
              <a:gd name="connsiteX235" fmla="*/ 11580011 w 12193200"/>
              <a:gd name="connsiteY235" fmla="*/ 500718 h 6861600"/>
              <a:gd name="connsiteX236" fmla="*/ 11594253 w 12193200"/>
              <a:gd name="connsiteY236" fmla="*/ 498797 h 6861600"/>
              <a:gd name="connsiteX237" fmla="*/ 11441405 w 12193200"/>
              <a:gd name="connsiteY237" fmla="*/ 491374 h 6861600"/>
              <a:gd name="connsiteX238" fmla="*/ 11460384 w 12193200"/>
              <a:gd name="connsiteY238" fmla="*/ 496499 h 6861600"/>
              <a:gd name="connsiteX239" fmla="*/ 11442948 w 12193200"/>
              <a:gd name="connsiteY239" fmla="*/ 533670 h 6861600"/>
              <a:gd name="connsiteX240" fmla="*/ 11434607 w 12193200"/>
              <a:gd name="connsiteY240" fmla="*/ 527131 h 6861600"/>
              <a:gd name="connsiteX241" fmla="*/ 11441405 w 12193200"/>
              <a:gd name="connsiteY241" fmla="*/ 491374 h 6861600"/>
              <a:gd name="connsiteX242" fmla="*/ 11419441 w 12193200"/>
              <a:gd name="connsiteY242" fmla="*/ 484343 h 6861600"/>
              <a:gd name="connsiteX243" fmla="*/ 11431543 w 12193200"/>
              <a:gd name="connsiteY243" fmla="*/ 488299 h 6861600"/>
              <a:gd name="connsiteX244" fmla="*/ 11423202 w 12193200"/>
              <a:gd name="connsiteY244" fmla="*/ 532257 h 6861600"/>
              <a:gd name="connsiteX245" fmla="*/ 11444102 w 12193200"/>
              <a:gd name="connsiteY245" fmla="*/ 543154 h 6861600"/>
              <a:gd name="connsiteX246" fmla="*/ 11469620 w 12193200"/>
              <a:gd name="connsiteY246" fmla="*/ 498549 h 6861600"/>
              <a:gd name="connsiteX247" fmla="*/ 11481672 w 12193200"/>
              <a:gd name="connsiteY247" fmla="*/ 500729 h 6861600"/>
              <a:gd name="connsiteX248" fmla="*/ 11485395 w 12193200"/>
              <a:gd name="connsiteY248" fmla="*/ 542507 h 6861600"/>
              <a:gd name="connsiteX249" fmla="*/ 11498472 w 12193200"/>
              <a:gd name="connsiteY249" fmla="*/ 550707 h 6861600"/>
              <a:gd name="connsiteX250" fmla="*/ 11555917 w 12193200"/>
              <a:gd name="connsiteY250" fmla="*/ 543532 h 6861600"/>
              <a:gd name="connsiteX251" fmla="*/ 11559122 w 12193200"/>
              <a:gd name="connsiteY251" fmla="*/ 503286 h 6861600"/>
              <a:gd name="connsiteX252" fmla="*/ 11570149 w 12193200"/>
              <a:gd name="connsiteY252" fmla="*/ 502002 h 6861600"/>
              <a:gd name="connsiteX253" fmla="*/ 11579385 w 12193200"/>
              <a:gd name="connsiteY253" fmla="*/ 528405 h 6861600"/>
              <a:gd name="connsiteX254" fmla="*/ 11598752 w 12193200"/>
              <a:gd name="connsiteY254" fmla="*/ 531739 h 6861600"/>
              <a:gd name="connsiteX255" fmla="*/ 11602723 w 12193200"/>
              <a:gd name="connsiteY255" fmla="*/ 497772 h 6861600"/>
              <a:gd name="connsiteX256" fmla="*/ 11625673 w 12193200"/>
              <a:gd name="connsiteY256" fmla="*/ 533282 h 6861600"/>
              <a:gd name="connsiteX257" fmla="*/ 11612855 w 12193200"/>
              <a:gd name="connsiteY257" fmla="*/ 586216 h 6861600"/>
              <a:gd name="connsiteX258" fmla="*/ 11537326 w 12193200"/>
              <a:gd name="connsiteY258" fmla="*/ 569427 h 6861600"/>
              <a:gd name="connsiteX259" fmla="*/ 11459488 w 12193200"/>
              <a:gd name="connsiteY259" fmla="*/ 611465 h 6861600"/>
              <a:gd name="connsiteX260" fmla="*/ 11456154 w 12193200"/>
              <a:gd name="connsiteY260" fmla="*/ 612360 h 6861600"/>
              <a:gd name="connsiteX261" fmla="*/ 11418325 w 12193200"/>
              <a:gd name="connsiteY261" fmla="*/ 585191 h 6861600"/>
              <a:gd name="connsiteX262" fmla="*/ 11388707 w 12193200"/>
              <a:gd name="connsiteY262" fmla="*/ 549434 h 6861600"/>
              <a:gd name="connsiteX263" fmla="*/ 11414743 w 12193200"/>
              <a:gd name="connsiteY263" fmla="*/ 487403 h 6861600"/>
              <a:gd name="connsiteX264" fmla="*/ 11419441 w 12193200"/>
              <a:gd name="connsiteY264" fmla="*/ 484343 h 6861600"/>
              <a:gd name="connsiteX265" fmla="*/ 11358173 w 12193200"/>
              <a:gd name="connsiteY265" fmla="*/ 469801 h 6861600"/>
              <a:gd name="connsiteX266" fmla="*/ 11346260 w 12193200"/>
              <a:gd name="connsiteY266" fmla="*/ 478275 h 6861600"/>
              <a:gd name="connsiteX267" fmla="*/ 11361744 w 12193200"/>
              <a:gd name="connsiteY267" fmla="*/ 470744 h 6861600"/>
              <a:gd name="connsiteX268" fmla="*/ 11358173 w 12193200"/>
              <a:gd name="connsiteY268" fmla="*/ 469801 h 6861600"/>
              <a:gd name="connsiteX269" fmla="*/ 11354455 w 12193200"/>
              <a:gd name="connsiteY269" fmla="*/ 453696 h 6861600"/>
              <a:gd name="connsiteX270" fmla="*/ 11379471 w 12193200"/>
              <a:gd name="connsiteY270" fmla="*/ 464454 h 6861600"/>
              <a:gd name="connsiteX271" fmla="*/ 11401267 w 12193200"/>
              <a:gd name="connsiteY271" fmla="*/ 487522 h 6861600"/>
              <a:gd name="connsiteX272" fmla="*/ 11376515 w 12193200"/>
              <a:gd name="connsiteY272" fmla="*/ 541611 h 6861600"/>
              <a:gd name="connsiteX273" fmla="*/ 11357665 w 12193200"/>
              <a:gd name="connsiteY273" fmla="*/ 511745 h 6861600"/>
              <a:gd name="connsiteX274" fmla="*/ 11330734 w 12193200"/>
              <a:gd name="connsiteY274" fmla="*/ 504052 h 6861600"/>
              <a:gd name="connsiteX275" fmla="*/ 11328166 w 12193200"/>
              <a:gd name="connsiteY275" fmla="*/ 491881 h 6861600"/>
              <a:gd name="connsiteX276" fmla="*/ 11335600 w 12193200"/>
              <a:gd name="connsiteY276" fmla="*/ 481879 h 6861600"/>
              <a:gd name="connsiteX277" fmla="*/ 11338297 w 12193200"/>
              <a:gd name="connsiteY277" fmla="*/ 470604 h 6861600"/>
              <a:gd name="connsiteX278" fmla="*/ 11349972 w 12193200"/>
              <a:gd name="connsiteY278" fmla="*/ 456124 h 6861600"/>
              <a:gd name="connsiteX279" fmla="*/ 11354455 w 12193200"/>
              <a:gd name="connsiteY279" fmla="*/ 453696 h 6861600"/>
              <a:gd name="connsiteX280" fmla="*/ 11324025 w 12193200"/>
              <a:gd name="connsiteY280" fmla="*/ 392924 h 6861600"/>
              <a:gd name="connsiteX281" fmla="*/ 11322134 w 12193200"/>
              <a:gd name="connsiteY281" fmla="*/ 400006 h 6861600"/>
              <a:gd name="connsiteX282" fmla="*/ 11335988 w 12193200"/>
              <a:gd name="connsiteY282" fmla="*/ 441536 h 6861600"/>
              <a:gd name="connsiteX283" fmla="*/ 11339193 w 12193200"/>
              <a:gd name="connsiteY283" fmla="*/ 451786 h 6861600"/>
              <a:gd name="connsiteX284" fmla="*/ 11328425 w 12193200"/>
              <a:gd name="connsiteY284" fmla="*/ 467162 h 6861600"/>
              <a:gd name="connsiteX285" fmla="*/ 11327270 w 12193200"/>
              <a:gd name="connsiteY285" fmla="*/ 474855 h 6861600"/>
              <a:gd name="connsiteX286" fmla="*/ 11315477 w 12193200"/>
              <a:gd name="connsiteY286" fmla="*/ 490748 h 6861600"/>
              <a:gd name="connsiteX287" fmla="*/ 11317268 w 12193200"/>
              <a:gd name="connsiteY287" fmla="*/ 503696 h 6861600"/>
              <a:gd name="connsiteX288" fmla="*/ 11327788 w 12193200"/>
              <a:gd name="connsiteY288" fmla="*/ 514594 h 6861600"/>
              <a:gd name="connsiteX289" fmla="*/ 11341890 w 12193200"/>
              <a:gd name="connsiteY289" fmla="*/ 516137 h 6861600"/>
              <a:gd name="connsiteX290" fmla="*/ 11358561 w 12193200"/>
              <a:gd name="connsiteY290" fmla="*/ 529214 h 6861600"/>
              <a:gd name="connsiteX291" fmla="*/ 11388308 w 12193200"/>
              <a:gd name="connsiteY291" fmla="*/ 580476 h 6861600"/>
              <a:gd name="connsiteX292" fmla="*/ 11394717 w 12193200"/>
              <a:gd name="connsiteY292" fmla="*/ 606490 h 6861600"/>
              <a:gd name="connsiteX293" fmla="*/ 11360611 w 12193200"/>
              <a:gd name="connsiteY293" fmla="*/ 709026 h 6861600"/>
              <a:gd name="connsiteX294" fmla="*/ 11362402 w 12193200"/>
              <a:gd name="connsiteY294" fmla="*/ 719406 h 6861600"/>
              <a:gd name="connsiteX295" fmla="*/ 11388567 w 12193200"/>
              <a:gd name="connsiteY295" fmla="*/ 719406 h 6861600"/>
              <a:gd name="connsiteX296" fmla="*/ 11394210 w 12193200"/>
              <a:gd name="connsiteY296" fmla="*/ 711972 h 6861600"/>
              <a:gd name="connsiteX297" fmla="*/ 11429094 w 12193200"/>
              <a:gd name="connsiteY297" fmla="*/ 608411 h 6861600"/>
              <a:gd name="connsiteX298" fmla="*/ 11464484 w 12193200"/>
              <a:gd name="connsiteY298" fmla="*/ 709921 h 6861600"/>
              <a:gd name="connsiteX299" fmla="*/ 11468207 w 12193200"/>
              <a:gd name="connsiteY299" fmla="*/ 719665 h 6861600"/>
              <a:gd name="connsiteX300" fmla="*/ 11490650 w 12193200"/>
              <a:gd name="connsiteY300" fmla="*/ 719665 h 6861600"/>
              <a:gd name="connsiteX301" fmla="*/ 11497954 w 12193200"/>
              <a:gd name="connsiteY301" fmla="*/ 713126 h 6861600"/>
              <a:gd name="connsiteX302" fmla="*/ 11473979 w 12193200"/>
              <a:gd name="connsiteY302" fmla="*/ 619309 h 6861600"/>
              <a:gd name="connsiteX303" fmla="*/ 11535276 w 12193200"/>
              <a:gd name="connsiteY303" fmla="*/ 595345 h 6861600"/>
              <a:gd name="connsiteX304" fmla="*/ 11569383 w 12193200"/>
              <a:gd name="connsiteY304" fmla="*/ 622136 h 6861600"/>
              <a:gd name="connsiteX305" fmla="*/ 11512315 w 12193200"/>
              <a:gd name="connsiteY305" fmla="*/ 709932 h 6861600"/>
              <a:gd name="connsiteX306" fmla="*/ 11514624 w 12193200"/>
              <a:gd name="connsiteY306" fmla="*/ 719417 h 6861600"/>
              <a:gd name="connsiteX307" fmla="*/ 11538351 w 12193200"/>
              <a:gd name="connsiteY307" fmla="*/ 719417 h 6861600"/>
              <a:gd name="connsiteX308" fmla="*/ 11547069 w 12193200"/>
              <a:gd name="connsiteY308" fmla="*/ 713903 h 6861600"/>
              <a:gd name="connsiteX309" fmla="*/ 11598623 w 12193200"/>
              <a:gd name="connsiteY309" fmla="*/ 630983 h 6861600"/>
              <a:gd name="connsiteX310" fmla="*/ 11608496 w 12193200"/>
              <a:gd name="connsiteY310" fmla="*/ 600869 h 6861600"/>
              <a:gd name="connsiteX311" fmla="*/ 11599130 w 12193200"/>
              <a:gd name="connsiteY311" fmla="*/ 710062 h 6861600"/>
              <a:gd name="connsiteX312" fmla="*/ 11601439 w 12193200"/>
              <a:gd name="connsiteY312" fmla="*/ 719287 h 6861600"/>
              <a:gd name="connsiteX313" fmla="*/ 11622857 w 12193200"/>
              <a:gd name="connsiteY313" fmla="*/ 719287 h 6861600"/>
              <a:gd name="connsiteX314" fmla="*/ 11629525 w 12193200"/>
              <a:gd name="connsiteY314" fmla="*/ 711087 h 6861600"/>
              <a:gd name="connsiteX315" fmla="*/ 11634650 w 12193200"/>
              <a:gd name="connsiteY315" fmla="*/ 693014 h 6861600"/>
              <a:gd name="connsiteX316" fmla="*/ 11654018 w 12193200"/>
              <a:gd name="connsiteY316" fmla="*/ 688018 h 6861600"/>
              <a:gd name="connsiteX317" fmla="*/ 11659024 w 12193200"/>
              <a:gd name="connsiteY317" fmla="*/ 680584 h 6861600"/>
              <a:gd name="connsiteX318" fmla="*/ 11654654 w 12193200"/>
              <a:gd name="connsiteY318" fmla="*/ 520852 h 6861600"/>
              <a:gd name="connsiteX319" fmla="*/ 11603360 w 12193200"/>
              <a:gd name="connsiteY319" fmla="*/ 487533 h 6861600"/>
              <a:gd name="connsiteX320" fmla="*/ 11526547 w 12193200"/>
              <a:gd name="connsiteY320" fmla="*/ 493424 h 6861600"/>
              <a:gd name="connsiteX321" fmla="*/ 11402033 w 12193200"/>
              <a:gd name="connsiteY321" fmla="*/ 464842 h 6861600"/>
              <a:gd name="connsiteX322" fmla="*/ 11401644 w 12193200"/>
              <a:gd name="connsiteY322" fmla="*/ 459199 h 6861600"/>
              <a:gd name="connsiteX323" fmla="*/ 11433960 w 12193200"/>
              <a:gd name="connsiteY323" fmla="*/ 433314 h 6861600"/>
              <a:gd name="connsiteX324" fmla="*/ 11431392 w 12193200"/>
              <a:gd name="connsiteY324" fmla="*/ 426398 h 6861600"/>
              <a:gd name="connsiteX325" fmla="*/ 11365995 w 12193200"/>
              <a:gd name="connsiteY325" fmla="*/ 438191 h 6861600"/>
              <a:gd name="connsiteX326" fmla="*/ 11327648 w 12193200"/>
              <a:gd name="connsiteY326" fmla="*/ 397568 h 6861600"/>
              <a:gd name="connsiteX327" fmla="*/ 11324025 w 12193200"/>
              <a:gd name="connsiteY327" fmla="*/ 392924 h 6861600"/>
              <a:gd name="connsiteX328" fmla="*/ 11391491 w 12193200"/>
              <a:gd name="connsiteY328" fmla="*/ 334037 h 6861600"/>
              <a:gd name="connsiteX329" fmla="*/ 11426364 w 12193200"/>
              <a:gd name="connsiteY329" fmla="*/ 368996 h 6861600"/>
              <a:gd name="connsiteX330" fmla="*/ 11391491 w 12193200"/>
              <a:gd name="connsiteY330" fmla="*/ 403955 h 6861600"/>
              <a:gd name="connsiteX331" fmla="*/ 11356360 w 12193200"/>
              <a:gd name="connsiteY331" fmla="*/ 368996 h 6861600"/>
              <a:gd name="connsiteX332" fmla="*/ 11391491 w 12193200"/>
              <a:gd name="connsiteY332" fmla="*/ 334037 h 6861600"/>
              <a:gd name="connsiteX333" fmla="*/ 11389959 w 12193200"/>
              <a:gd name="connsiteY333" fmla="*/ 321618 h 6861600"/>
              <a:gd name="connsiteX334" fmla="*/ 11337262 w 12193200"/>
              <a:gd name="connsiteY334" fmla="*/ 374510 h 6861600"/>
              <a:gd name="connsiteX335" fmla="*/ 11389959 w 12193200"/>
              <a:gd name="connsiteY335" fmla="*/ 427401 h 6861600"/>
              <a:gd name="connsiteX336" fmla="*/ 11442656 w 12193200"/>
              <a:gd name="connsiteY336" fmla="*/ 374510 h 6861600"/>
              <a:gd name="connsiteX337" fmla="*/ 11389959 w 12193200"/>
              <a:gd name="connsiteY337" fmla="*/ 321618 h 6861600"/>
              <a:gd name="connsiteX338" fmla="*/ 0 w 12193200"/>
              <a:gd name="connsiteY338" fmla="*/ 0 h 6861600"/>
              <a:gd name="connsiteX339" fmla="*/ 12193200 w 12193200"/>
              <a:gd name="connsiteY339" fmla="*/ 0 h 6861600"/>
              <a:gd name="connsiteX340" fmla="*/ 12193200 w 12193200"/>
              <a:gd name="connsiteY340" fmla="*/ 6861600 h 6861600"/>
              <a:gd name="connsiteX341" fmla="*/ 0 w 12193200"/>
              <a:gd name="connsiteY341" fmla="*/ 6861600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12193200" h="6861600">
                <a:moveTo>
                  <a:pt x="11666200" y="756760"/>
                </a:moveTo>
                <a:cubicBezTo>
                  <a:pt x="11673094" y="756760"/>
                  <a:pt x="11676288" y="758939"/>
                  <a:pt x="11678975" y="761119"/>
                </a:cubicBezTo>
                <a:cubicBezTo>
                  <a:pt x="11678975" y="808195"/>
                  <a:pt x="11678975" y="808195"/>
                  <a:pt x="11678975" y="808195"/>
                </a:cubicBezTo>
                <a:lnTo>
                  <a:pt x="11678845" y="808195"/>
                </a:lnTo>
                <a:cubicBezTo>
                  <a:pt x="11678845" y="811658"/>
                  <a:pt x="11673094" y="813579"/>
                  <a:pt x="11667095" y="813579"/>
                </a:cubicBezTo>
                <a:cubicBezTo>
                  <a:pt x="11654191" y="813579"/>
                  <a:pt x="11644998" y="802671"/>
                  <a:pt x="11644998" y="784080"/>
                </a:cubicBezTo>
                <a:cubicBezTo>
                  <a:pt x="11644998" y="767658"/>
                  <a:pt x="11653942" y="756760"/>
                  <a:pt x="11666200" y="756760"/>
                </a:cubicBezTo>
                <a:close/>
                <a:moveTo>
                  <a:pt x="11553608" y="755951"/>
                </a:moveTo>
                <a:cubicBezTo>
                  <a:pt x="11558334" y="755951"/>
                  <a:pt x="11561787" y="756976"/>
                  <a:pt x="11565369" y="760439"/>
                </a:cubicBezTo>
                <a:cubicBezTo>
                  <a:pt x="11569210" y="764032"/>
                  <a:pt x="11571638" y="771995"/>
                  <a:pt x="11571638" y="784954"/>
                </a:cubicBezTo>
                <a:cubicBezTo>
                  <a:pt x="11571638" y="797535"/>
                  <a:pt x="11569210" y="805746"/>
                  <a:pt x="11565369" y="809339"/>
                </a:cubicBezTo>
                <a:cubicBezTo>
                  <a:pt x="11561787" y="812802"/>
                  <a:pt x="11558334" y="813698"/>
                  <a:pt x="11553608" y="813698"/>
                </a:cubicBezTo>
                <a:cubicBezTo>
                  <a:pt x="11548882" y="813698"/>
                  <a:pt x="11545677" y="812802"/>
                  <a:pt x="11542106" y="809339"/>
                </a:cubicBezTo>
                <a:cubicBezTo>
                  <a:pt x="11538394" y="805746"/>
                  <a:pt x="11535837" y="797783"/>
                  <a:pt x="11535837" y="784954"/>
                </a:cubicBezTo>
                <a:cubicBezTo>
                  <a:pt x="11535837" y="772243"/>
                  <a:pt x="11538394" y="764032"/>
                  <a:pt x="11542106" y="760439"/>
                </a:cubicBezTo>
                <a:cubicBezTo>
                  <a:pt x="11545688" y="756976"/>
                  <a:pt x="11549141" y="755951"/>
                  <a:pt x="11553608" y="755951"/>
                </a:cubicBezTo>
                <a:close/>
                <a:moveTo>
                  <a:pt x="11389948" y="755951"/>
                </a:moveTo>
                <a:cubicBezTo>
                  <a:pt x="11394707" y="755951"/>
                  <a:pt x="11397911" y="756976"/>
                  <a:pt x="11401504" y="760439"/>
                </a:cubicBezTo>
                <a:cubicBezTo>
                  <a:pt x="11405356" y="764032"/>
                  <a:pt x="11407795" y="771995"/>
                  <a:pt x="11407795" y="784954"/>
                </a:cubicBezTo>
                <a:cubicBezTo>
                  <a:pt x="11407795" y="797535"/>
                  <a:pt x="11405356" y="805746"/>
                  <a:pt x="11401504" y="809339"/>
                </a:cubicBezTo>
                <a:cubicBezTo>
                  <a:pt x="11397911" y="812802"/>
                  <a:pt x="11394448" y="813698"/>
                  <a:pt x="11389948" y="813698"/>
                </a:cubicBezTo>
                <a:cubicBezTo>
                  <a:pt x="11385201" y="813698"/>
                  <a:pt x="11381985" y="812802"/>
                  <a:pt x="11378133" y="809339"/>
                </a:cubicBezTo>
                <a:cubicBezTo>
                  <a:pt x="11374411" y="805746"/>
                  <a:pt x="11371843" y="797783"/>
                  <a:pt x="11371843" y="784954"/>
                </a:cubicBezTo>
                <a:cubicBezTo>
                  <a:pt x="11371843" y="772243"/>
                  <a:pt x="11374411" y="764032"/>
                  <a:pt x="11378133" y="760439"/>
                </a:cubicBezTo>
                <a:cubicBezTo>
                  <a:pt x="11381726" y="756976"/>
                  <a:pt x="11385190" y="755951"/>
                  <a:pt x="11389948" y="755951"/>
                </a:cubicBezTo>
                <a:close/>
                <a:moveTo>
                  <a:pt x="11267462" y="755951"/>
                </a:moveTo>
                <a:cubicBezTo>
                  <a:pt x="11272210" y="755951"/>
                  <a:pt x="11275425" y="756976"/>
                  <a:pt x="11279148" y="760439"/>
                </a:cubicBezTo>
                <a:cubicBezTo>
                  <a:pt x="11282881" y="764032"/>
                  <a:pt x="11285438" y="771995"/>
                  <a:pt x="11285438" y="784954"/>
                </a:cubicBezTo>
                <a:cubicBezTo>
                  <a:pt x="11285438" y="797535"/>
                  <a:pt x="11283000" y="805746"/>
                  <a:pt x="11279148" y="809339"/>
                </a:cubicBezTo>
                <a:cubicBezTo>
                  <a:pt x="11275555" y="812802"/>
                  <a:pt x="11272210" y="813698"/>
                  <a:pt x="11267462" y="813698"/>
                </a:cubicBezTo>
                <a:cubicBezTo>
                  <a:pt x="11262715" y="813698"/>
                  <a:pt x="11259499" y="812802"/>
                  <a:pt x="11255907" y="809339"/>
                </a:cubicBezTo>
                <a:cubicBezTo>
                  <a:pt x="11252054" y="805746"/>
                  <a:pt x="11249616" y="797783"/>
                  <a:pt x="11249616" y="784954"/>
                </a:cubicBezTo>
                <a:cubicBezTo>
                  <a:pt x="11249616" y="772243"/>
                  <a:pt x="11252054" y="764032"/>
                  <a:pt x="11255907" y="760439"/>
                </a:cubicBezTo>
                <a:cubicBezTo>
                  <a:pt x="11259499" y="756976"/>
                  <a:pt x="11262844" y="755951"/>
                  <a:pt x="11267462" y="755951"/>
                </a:cubicBezTo>
                <a:close/>
                <a:moveTo>
                  <a:pt x="11708668" y="750006"/>
                </a:moveTo>
                <a:cubicBezTo>
                  <a:pt x="11706381" y="750006"/>
                  <a:pt x="11706381" y="750772"/>
                  <a:pt x="11706381" y="752433"/>
                </a:cubicBezTo>
                <a:cubicBezTo>
                  <a:pt x="11706381" y="817032"/>
                  <a:pt x="11706381" y="817032"/>
                  <a:pt x="11706381" y="817032"/>
                </a:cubicBezTo>
                <a:cubicBezTo>
                  <a:pt x="11706381" y="818952"/>
                  <a:pt x="11706381" y="819459"/>
                  <a:pt x="11708420" y="819459"/>
                </a:cubicBezTo>
                <a:cubicBezTo>
                  <a:pt x="11715671" y="819459"/>
                  <a:pt x="11715671" y="819459"/>
                  <a:pt x="11715671" y="819459"/>
                </a:cubicBezTo>
                <a:cubicBezTo>
                  <a:pt x="11717699" y="819330"/>
                  <a:pt x="11718206" y="819330"/>
                  <a:pt x="11718206" y="817032"/>
                </a:cubicBezTo>
                <a:cubicBezTo>
                  <a:pt x="11718206" y="752433"/>
                  <a:pt x="11718206" y="752433"/>
                  <a:pt x="11718206" y="752433"/>
                </a:cubicBezTo>
                <a:cubicBezTo>
                  <a:pt x="11718206" y="750383"/>
                  <a:pt x="11717699" y="750006"/>
                  <a:pt x="11715660" y="750006"/>
                </a:cubicBezTo>
                <a:cubicBezTo>
                  <a:pt x="11708668" y="750006"/>
                  <a:pt x="11708668" y="750006"/>
                  <a:pt x="11708668" y="750006"/>
                </a:cubicBezTo>
                <a:close/>
                <a:moveTo>
                  <a:pt x="11826514" y="749671"/>
                </a:moveTo>
                <a:cubicBezTo>
                  <a:pt x="11824076" y="749671"/>
                  <a:pt x="11823170" y="749542"/>
                  <a:pt x="11822404" y="751851"/>
                </a:cubicBezTo>
                <a:cubicBezTo>
                  <a:pt x="11818552" y="763374"/>
                  <a:pt x="11808647" y="775804"/>
                  <a:pt x="11798623" y="781695"/>
                </a:cubicBezTo>
                <a:cubicBezTo>
                  <a:pt x="11798234" y="782084"/>
                  <a:pt x="11798105" y="782461"/>
                  <a:pt x="11798105" y="782461"/>
                </a:cubicBezTo>
                <a:cubicBezTo>
                  <a:pt x="11798105" y="782591"/>
                  <a:pt x="11798234" y="782968"/>
                  <a:pt x="11798234" y="783227"/>
                </a:cubicBezTo>
                <a:cubicBezTo>
                  <a:pt x="11822145" y="817420"/>
                  <a:pt x="11822145" y="817420"/>
                  <a:pt x="11822145" y="817420"/>
                </a:cubicBezTo>
                <a:cubicBezTo>
                  <a:pt x="11823558" y="819470"/>
                  <a:pt x="11824076" y="819470"/>
                  <a:pt x="11826126" y="819470"/>
                </a:cubicBezTo>
                <a:cubicBezTo>
                  <a:pt x="11835254" y="819470"/>
                  <a:pt x="11835254" y="819470"/>
                  <a:pt x="11835254" y="819470"/>
                </a:cubicBezTo>
                <a:cubicBezTo>
                  <a:pt x="11835891" y="819330"/>
                  <a:pt x="11837175" y="819330"/>
                  <a:pt x="11837175" y="817798"/>
                </a:cubicBezTo>
                <a:cubicBezTo>
                  <a:pt x="11837175" y="817291"/>
                  <a:pt x="11836786" y="816643"/>
                  <a:pt x="11836279" y="816136"/>
                </a:cubicBezTo>
                <a:cubicBezTo>
                  <a:pt x="11810826" y="782450"/>
                  <a:pt x="11810826" y="782450"/>
                  <a:pt x="11810826" y="782450"/>
                </a:cubicBezTo>
                <a:cubicBezTo>
                  <a:pt x="11810567" y="782192"/>
                  <a:pt x="11810567" y="782192"/>
                  <a:pt x="11810567" y="782192"/>
                </a:cubicBezTo>
                <a:cubicBezTo>
                  <a:pt x="11819566" y="775534"/>
                  <a:pt x="11828824" y="765154"/>
                  <a:pt x="11834607" y="753890"/>
                </a:cubicBezTo>
                <a:cubicBezTo>
                  <a:pt x="11835125" y="752606"/>
                  <a:pt x="11835254" y="751969"/>
                  <a:pt x="11835254" y="751203"/>
                </a:cubicBezTo>
                <a:cubicBezTo>
                  <a:pt x="11835254" y="750049"/>
                  <a:pt x="11834607" y="749671"/>
                  <a:pt x="11832816" y="749671"/>
                </a:cubicBezTo>
                <a:cubicBezTo>
                  <a:pt x="11826514" y="749671"/>
                  <a:pt x="11826514" y="749671"/>
                  <a:pt x="11826514" y="749671"/>
                </a:cubicBezTo>
                <a:close/>
                <a:moveTo>
                  <a:pt x="11301634" y="749671"/>
                </a:moveTo>
                <a:cubicBezTo>
                  <a:pt x="11301116" y="749671"/>
                  <a:pt x="11299832" y="749671"/>
                  <a:pt x="11299832" y="751462"/>
                </a:cubicBezTo>
                <a:cubicBezTo>
                  <a:pt x="11299832" y="751980"/>
                  <a:pt x="11299961" y="752617"/>
                  <a:pt x="11300350" y="753383"/>
                </a:cubicBezTo>
                <a:cubicBezTo>
                  <a:pt x="11324605" y="817399"/>
                  <a:pt x="11324605" y="817399"/>
                  <a:pt x="11324605" y="817399"/>
                </a:cubicBezTo>
                <a:cubicBezTo>
                  <a:pt x="11325371" y="818942"/>
                  <a:pt x="11325630" y="819449"/>
                  <a:pt x="11326785" y="819449"/>
                </a:cubicBezTo>
                <a:cubicBezTo>
                  <a:pt x="11332050" y="819449"/>
                  <a:pt x="11332050" y="819449"/>
                  <a:pt x="11332050" y="819449"/>
                </a:cubicBezTo>
                <a:cubicBezTo>
                  <a:pt x="11333593" y="819449"/>
                  <a:pt x="11333971" y="819190"/>
                  <a:pt x="11334489" y="817399"/>
                </a:cubicBezTo>
                <a:cubicBezTo>
                  <a:pt x="11358108" y="753135"/>
                  <a:pt x="11358108" y="753135"/>
                  <a:pt x="11358108" y="753135"/>
                </a:cubicBezTo>
                <a:cubicBezTo>
                  <a:pt x="11358366" y="751592"/>
                  <a:pt x="11358366" y="751462"/>
                  <a:pt x="11358366" y="751085"/>
                </a:cubicBezTo>
                <a:cubicBezTo>
                  <a:pt x="11358366" y="749671"/>
                  <a:pt x="11357341" y="749671"/>
                  <a:pt x="11356694" y="749671"/>
                </a:cubicBezTo>
                <a:cubicBezTo>
                  <a:pt x="11350015" y="749671"/>
                  <a:pt x="11350015" y="749671"/>
                  <a:pt x="11350015" y="749671"/>
                </a:cubicBezTo>
                <a:cubicBezTo>
                  <a:pt x="11349120" y="749930"/>
                  <a:pt x="11348990" y="750308"/>
                  <a:pt x="11348343" y="751592"/>
                </a:cubicBezTo>
                <a:cubicBezTo>
                  <a:pt x="11330885" y="802908"/>
                  <a:pt x="11330885" y="802908"/>
                  <a:pt x="11330885" y="802908"/>
                </a:cubicBezTo>
                <a:cubicBezTo>
                  <a:pt x="11312920" y="751851"/>
                  <a:pt x="11312920" y="751851"/>
                  <a:pt x="11312920" y="751851"/>
                </a:cubicBezTo>
                <a:cubicBezTo>
                  <a:pt x="11312154" y="749930"/>
                  <a:pt x="11311895" y="749671"/>
                  <a:pt x="11309845" y="749671"/>
                </a:cubicBezTo>
                <a:cubicBezTo>
                  <a:pt x="11301634" y="749671"/>
                  <a:pt x="11301634" y="749671"/>
                  <a:pt x="11301634" y="749671"/>
                </a:cubicBezTo>
                <a:close/>
                <a:moveTo>
                  <a:pt x="11754223" y="748506"/>
                </a:moveTo>
                <a:cubicBezTo>
                  <a:pt x="11742149" y="748506"/>
                  <a:pt x="11731241" y="755185"/>
                  <a:pt x="11731241" y="767625"/>
                </a:cubicBezTo>
                <a:cubicBezTo>
                  <a:pt x="11731241" y="779300"/>
                  <a:pt x="11739462" y="784177"/>
                  <a:pt x="11749346" y="788417"/>
                </a:cubicBezTo>
                <a:cubicBezTo>
                  <a:pt x="11757050" y="791622"/>
                  <a:pt x="11764236" y="794708"/>
                  <a:pt x="11764236" y="801894"/>
                </a:cubicBezTo>
                <a:cubicBezTo>
                  <a:pt x="11764236" y="807407"/>
                  <a:pt x="11759866" y="813698"/>
                  <a:pt x="11750500" y="813698"/>
                </a:cubicBezTo>
                <a:cubicBezTo>
                  <a:pt x="11740995" y="813698"/>
                  <a:pt x="11738308" y="806641"/>
                  <a:pt x="11733679" y="806641"/>
                </a:cubicBezTo>
                <a:cubicBezTo>
                  <a:pt x="11731500" y="806641"/>
                  <a:pt x="11728673" y="807666"/>
                  <a:pt x="11728673" y="811130"/>
                </a:cubicBezTo>
                <a:cubicBezTo>
                  <a:pt x="11728673" y="816643"/>
                  <a:pt x="11739462" y="821402"/>
                  <a:pt x="11750241" y="821402"/>
                </a:cubicBezTo>
                <a:cubicBezTo>
                  <a:pt x="11762434" y="821531"/>
                  <a:pt x="11774896" y="815111"/>
                  <a:pt x="11774896" y="800610"/>
                </a:cubicBezTo>
                <a:cubicBezTo>
                  <a:pt x="11774896" y="777897"/>
                  <a:pt x="11741901" y="781490"/>
                  <a:pt x="11741901" y="766471"/>
                </a:cubicBezTo>
                <a:cubicBezTo>
                  <a:pt x="11741901" y="761335"/>
                  <a:pt x="11745882" y="756199"/>
                  <a:pt x="11753457" y="756199"/>
                </a:cubicBezTo>
                <a:cubicBezTo>
                  <a:pt x="11761290" y="756199"/>
                  <a:pt x="11763340" y="761335"/>
                  <a:pt x="11767322" y="761335"/>
                </a:cubicBezTo>
                <a:cubicBezTo>
                  <a:pt x="11769372" y="761335"/>
                  <a:pt x="11772328" y="760180"/>
                  <a:pt x="11772328" y="756587"/>
                </a:cubicBezTo>
                <a:cubicBezTo>
                  <a:pt x="11772328" y="751452"/>
                  <a:pt x="11763599" y="748506"/>
                  <a:pt x="11754223" y="748506"/>
                </a:cubicBezTo>
                <a:close/>
                <a:moveTo>
                  <a:pt x="11614257" y="748117"/>
                </a:moveTo>
                <a:cubicBezTo>
                  <a:pt x="11607082" y="748117"/>
                  <a:pt x="11602594" y="749272"/>
                  <a:pt x="11599001" y="750167"/>
                </a:cubicBezTo>
                <a:cubicBezTo>
                  <a:pt x="11594383" y="751322"/>
                  <a:pt x="11592721" y="753491"/>
                  <a:pt x="11592721" y="755660"/>
                </a:cubicBezTo>
                <a:cubicBezTo>
                  <a:pt x="11592721" y="816902"/>
                  <a:pt x="11592721" y="816902"/>
                  <a:pt x="11592721" y="816902"/>
                </a:cubicBezTo>
                <a:cubicBezTo>
                  <a:pt x="11592721" y="818952"/>
                  <a:pt x="11593487" y="819071"/>
                  <a:pt x="11595418" y="819071"/>
                </a:cubicBezTo>
                <a:cubicBezTo>
                  <a:pt x="11602216" y="819071"/>
                  <a:pt x="11602216" y="819071"/>
                  <a:pt x="11602216" y="819071"/>
                </a:cubicBezTo>
                <a:cubicBezTo>
                  <a:pt x="11603878" y="819071"/>
                  <a:pt x="11604654" y="818942"/>
                  <a:pt x="11604654" y="816902"/>
                </a:cubicBezTo>
                <a:cubicBezTo>
                  <a:pt x="11604654" y="760774"/>
                  <a:pt x="11604654" y="760774"/>
                  <a:pt x="11604654" y="760774"/>
                </a:cubicBezTo>
                <a:cubicBezTo>
                  <a:pt x="11604654" y="757192"/>
                  <a:pt x="11607471" y="754764"/>
                  <a:pt x="11611452" y="754764"/>
                </a:cubicBezTo>
                <a:cubicBezTo>
                  <a:pt x="11620041" y="754764"/>
                  <a:pt x="11621325" y="761033"/>
                  <a:pt x="11625943" y="761033"/>
                </a:cubicBezTo>
                <a:cubicBezTo>
                  <a:pt x="11629255" y="761162"/>
                  <a:pt x="11631823" y="759112"/>
                  <a:pt x="11631823" y="755152"/>
                </a:cubicBezTo>
                <a:cubicBezTo>
                  <a:pt x="11631823" y="750167"/>
                  <a:pt x="11623623" y="748117"/>
                  <a:pt x="11614257" y="748117"/>
                </a:cubicBezTo>
                <a:close/>
                <a:moveTo>
                  <a:pt x="11553619" y="748117"/>
                </a:moveTo>
                <a:cubicBezTo>
                  <a:pt x="11547609" y="748117"/>
                  <a:pt x="11541221" y="749919"/>
                  <a:pt x="11536236" y="753124"/>
                </a:cubicBezTo>
                <a:cubicBezTo>
                  <a:pt x="11528565" y="758519"/>
                  <a:pt x="11523450" y="768780"/>
                  <a:pt x="11523450" y="784954"/>
                </a:cubicBezTo>
                <a:cubicBezTo>
                  <a:pt x="11523450" y="800998"/>
                  <a:pt x="11528565" y="811270"/>
                  <a:pt x="11536236" y="816654"/>
                </a:cubicBezTo>
                <a:cubicBezTo>
                  <a:pt x="11540962" y="819988"/>
                  <a:pt x="11547490" y="821531"/>
                  <a:pt x="11553619" y="821531"/>
                </a:cubicBezTo>
                <a:cubicBezTo>
                  <a:pt x="11559888" y="821531"/>
                  <a:pt x="11566275" y="819859"/>
                  <a:pt x="11571001" y="816654"/>
                </a:cubicBezTo>
                <a:cubicBezTo>
                  <a:pt x="11578802" y="811259"/>
                  <a:pt x="11583917" y="800998"/>
                  <a:pt x="11583917" y="784954"/>
                </a:cubicBezTo>
                <a:cubicBezTo>
                  <a:pt x="11583917" y="768780"/>
                  <a:pt x="11578802" y="758519"/>
                  <a:pt x="11571001" y="753124"/>
                </a:cubicBezTo>
                <a:cubicBezTo>
                  <a:pt x="11566146" y="749660"/>
                  <a:pt x="11559747" y="748117"/>
                  <a:pt x="11553619" y="748117"/>
                </a:cubicBezTo>
                <a:close/>
                <a:moveTo>
                  <a:pt x="11486031" y="748117"/>
                </a:moveTo>
                <a:cubicBezTo>
                  <a:pt x="11475824" y="748117"/>
                  <a:pt x="11468930" y="750297"/>
                  <a:pt x="11465229" y="751452"/>
                </a:cubicBezTo>
                <a:cubicBezTo>
                  <a:pt x="11460632" y="752994"/>
                  <a:pt x="11459230" y="754656"/>
                  <a:pt x="11459230" y="756965"/>
                </a:cubicBezTo>
                <a:cubicBezTo>
                  <a:pt x="11459230" y="817010"/>
                  <a:pt x="11459230" y="817010"/>
                  <a:pt x="11459230" y="817010"/>
                </a:cubicBezTo>
                <a:cubicBezTo>
                  <a:pt x="11459230" y="819190"/>
                  <a:pt x="11459737" y="819449"/>
                  <a:pt x="11461787" y="819449"/>
                </a:cubicBezTo>
                <a:cubicBezTo>
                  <a:pt x="11468422" y="819449"/>
                  <a:pt x="11468422" y="819449"/>
                  <a:pt x="11468422" y="819449"/>
                </a:cubicBezTo>
                <a:cubicBezTo>
                  <a:pt x="11470332" y="819449"/>
                  <a:pt x="11471228" y="819190"/>
                  <a:pt x="11471228" y="816751"/>
                </a:cubicBezTo>
                <a:cubicBezTo>
                  <a:pt x="11471228" y="761454"/>
                  <a:pt x="11471228" y="761454"/>
                  <a:pt x="11471228" y="761454"/>
                </a:cubicBezTo>
                <a:cubicBezTo>
                  <a:pt x="11471228" y="758497"/>
                  <a:pt x="11476331" y="755422"/>
                  <a:pt x="11485654" y="755422"/>
                </a:cubicBezTo>
                <a:cubicBezTo>
                  <a:pt x="11501223" y="755422"/>
                  <a:pt x="11501223" y="765554"/>
                  <a:pt x="11501223" y="771844"/>
                </a:cubicBezTo>
                <a:cubicBezTo>
                  <a:pt x="11501223" y="816751"/>
                  <a:pt x="11501223" y="816751"/>
                  <a:pt x="11501223" y="816751"/>
                </a:cubicBezTo>
                <a:cubicBezTo>
                  <a:pt x="11501223" y="819190"/>
                  <a:pt x="11501990" y="819449"/>
                  <a:pt x="11504288" y="819449"/>
                </a:cubicBezTo>
                <a:cubicBezTo>
                  <a:pt x="11511690" y="819449"/>
                  <a:pt x="11511690" y="819449"/>
                  <a:pt x="11511690" y="819449"/>
                </a:cubicBezTo>
                <a:cubicBezTo>
                  <a:pt x="11512963" y="819201"/>
                  <a:pt x="11512963" y="817917"/>
                  <a:pt x="11512963" y="816762"/>
                </a:cubicBezTo>
                <a:cubicBezTo>
                  <a:pt x="11512963" y="770312"/>
                  <a:pt x="11512963" y="770312"/>
                  <a:pt x="11512963" y="770312"/>
                </a:cubicBezTo>
                <a:cubicBezTo>
                  <a:pt x="11512963" y="762230"/>
                  <a:pt x="11512704" y="748117"/>
                  <a:pt x="11486031" y="748117"/>
                </a:cubicBezTo>
                <a:close/>
                <a:moveTo>
                  <a:pt x="11389700" y="748117"/>
                </a:moveTo>
                <a:cubicBezTo>
                  <a:pt x="11383539" y="748117"/>
                  <a:pt x="11377249" y="749919"/>
                  <a:pt x="11372242" y="753124"/>
                </a:cubicBezTo>
                <a:cubicBezTo>
                  <a:pt x="11364538" y="758519"/>
                  <a:pt x="11359402" y="768780"/>
                  <a:pt x="11359402" y="784954"/>
                </a:cubicBezTo>
                <a:cubicBezTo>
                  <a:pt x="11359402" y="800998"/>
                  <a:pt x="11364538" y="811270"/>
                  <a:pt x="11372242" y="816654"/>
                </a:cubicBezTo>
                <a:cubicBezTo>
                  <a:pt x="11376990" y="819988"/>
                  <a:pt x="11383539" y="821531"/>
                  <a:pt x="11389700" y="821531"/>
                </a:cubicBezTo>
                <a:cubicBezTo>
                  <a:pt x="11395990" y="821531"/>
                  <a:pt x="11402281" y="819859"/>
                  <a:pt x="11407158" y="816654"/>
                </a:cubicBezTo>
                <a:cubicBezTo>
                  <a:pt x="11414991" y="811259"/>
                  <a:pt x="11420127" y="800998"/>
                  <a:pt x="11420127" y="784954"/>
                </a:cubicBezTo>
                <a:cubicBezTo>
                  <a:pt x="11420127" y="768780"/>
                  <a:pt x="11414991" y="758519"/>
                  <a:pt x="11407158" y="753124"/>
                </a:cubicBezTo>
                <a:cubicBezTo>
                  <a:pt x="11402540" y="749660"/>
                  <a:pt x="11395990" y="748117"/>
                  <a:pt x="11389700" y="748117"/>
                </a:cubicBezTo>
                <a:close/>
                <a:moveTo>
                  <a:pt x="11267473" y="748117"/>
                </a:moveTo>
                <a:cubicBezTo>
                  <a:pt x="11261312" y="748117"/>
                  <a:pt x="11254892" y="749919"/>
                  <a:pt x="11250015" y="753124"/>
                </a:cubicBezTo>
                <a:cubicBezTo>
                  <a:pt x="11242182" y="758519"/>
                  <a:pt x="11237046" y="768780"/>
                  <a:pt x="11237046" y="784954"/>
                </a:cubicBezTo>
                <a:cubicBezTo>
                  <a:pt x="11237046" y="800998"/>
                  <a:pt x="11242182" y="811270"/>
                  <a:pt x="11250015" y="816654"/>
                </a:cubicBezTo>
                <a:cubicBezTo>
                  <a:pt x="11254763" y="819988"/>
                  <a:pt x="11261183" y="821531"/>
                  <a:pt x="11267473" y="821531"/>
                </a:cubicBezTo>
                <a:cubicBezTo>
                  <a:pt x="11273764" y="821531"/>
                  <a:pt x="11279925" y="819859"/>
                  <a:pt x="11284931" y="816654"/>
                </a:cubicBezTo>
                <a:cubicBezTo>
                  <a:pt x="11292635" y="811259"/>
                  <a:pt x="11297771" y="800998"/>
                  <a:pt x="11297771" y="784954"/>
                </a:cubicBezTo>
                <a:cubicBezTo>
                  <a:pt x="11297771" y="768780"/>
                  <a:pt x="11292635" y="758519"/>
                  <a:pt x="11284931" y="753124"/>
                </a:cubicBezTo>
                <a:cubicBezTo>
                  <a:pt x="11279925" y="749660"/>
                  <a:pt x="11273764" y="748117"/>
                  <a:pt x="11267473" y="748117"/>
                </a:cubicBezTo>
                <a:close/>
                <a:moveTo>
                  <a:pt x="11199756" y="748117"/>
                </a:moveTo>
                <a:cubicBezTo>
                  <a:pt x="11189495" y="748117"/>
                  <a:pt x="11182698" y="750297"/>
                  <a:pt x="11178857" y="751452"/>
                </a:cubicBezTo>
                <a:cubicBezTo>
                  <a:pt x="11174368" y="752994"/>
                  <a:pt x="11172825" y="754656"/>
                  <a:pt x="11172825" y="756965"/>
                </a:cubicBezTo>
                <a:cubicBezTo>
                  <a:pt x="11172825" y="817010"/>
                  <a:pt x="11172825" y="817010"/>
                  <a:pt x="11172825" y="817010"/>
                </a:cubicBezTo>
                <a:cubicBezTo>
                  <a:pt x="11172825" y="819190"/>
                  <a:pt x="11173343" y="819449"/>
                  <a:pt x="11175263" y="819449"/>
                </a:cubicBezTo>
                <a:cubicBezTo>
                  <a:pt x="11181932" y="819449"/>
                  <a:pt x="11181932" y="819449"/>
                  <a:pt x="11181932" y="819449"/>
                </a:cubicBezTo>
                <a:cubicBezTo>
                  <a:pt x="11183852" y="819449"/>
                  <a:pt x="11184748" y="819190"/>
                  <a:pt x="11184748" y="816751"/>
                </a:cubicBezTo>
                <a:cubicBezTo>
                  <a:pt x="11184748" y="761454"/>
                  <a:pt x="11184748" y="761454"/>
                  <a:pt x="11184748" y="761454"/>
                </a:cubicBezTo>
                <a:cubicBezTo>
                  <a:pt x="11184748" y="758497"/>
                  <a:pt x="11189873" y="755422"/>
                  <a:pt x="11199238" y="755422"/>
                </a:cubicBezTo>
                <a:cubicBezTo>
                  <a:pt x="11214884" y="755422"/>
                  <a:pt x="11214884" y="765554"/>
                  <a:pt x="11214884" y="771844"/>
                </a:cubicBezTo>
                <a:cubicBezTo>
                  <a:pt x="11214884" y="816751"/>
                  <a:pt x="11214884" y="816751"/>
                  <a:pt x="11214884" y="816751"/>
                </a:cubicBezTo>
                <a:cubicBezTo>
                  <a:pt x="11214884" y="819190"/>
                  <a:pt x="11215650" y="819449"/>
                  <a:pt x="11217959" y="819449"/>
                </a:cubicBezTo>
                <a:cubicBezTo>
                  <a:pt x="11225393" y="819449"/>
                  <a:pt x="11225393" y="819449"/>
                  <a:pt x="11225393" y="819449"/>
                </a:cubicBezTo>
                <a:cubicBezTo>
                  <a:pt x="11226688" y="819201"/>
                  <a:pt x="11226817" y="817917"/>
                  <a:pt x="11226817" y="816762"/>
                </a:cubicBezTo>
                <a:cubicBezTo>
                  <a:pt x="11226817" y="770312"/>
                  <a:pt x="11226817" y="770312"/>
                  <a:pt x="11226817" y="770312"/>
                </a:cubicBezTo>
                <a:cubicBezTo>
                  <a:pt x="11226817" y="762230"/>
                  <a:pt x="11226688" y="748117"/>
                  <a:pt x="11199756" y="748117"/>
                </a:cubicBezTo>
                <a:close/>
                <a:moveTo>
                  <a:pt x="11681273" y="724801"/>
                </a:moveTo>
                <a:cubicBezTo>
                  <a:pt x="11678975" y="724801"/>
                  <a:pt x="11678845" y="725567"/>
                  <a:pt x="11678845" y="727876"/>
                </a:cubicBezTo>
                <a:cubicBezTo>
                  <a:pt x="11678845" y="752250"/>
                  <a:pt x="11678845" y="752250"/>
                  <a:pt x="11678845" y="752250"/>
                </a:cubicBezTo>
                <a:cubicBezTo>
                  <a:pt x="11674626" y="750070"/>
                  <a:pt x="11670537" y="748527"/>
                  <a:pt x="11664279" y="748527"/>
                </a:cubicBezTo>
                <a:cubicBezTo>
                  <a:pt x="11643455" y="748527"/>
                  <a:pt x="11632848" y="768413"/>
                  <a:pt x="11632848" y="784954"/>
                </a:cubicBezTo>
                <a:cubicBezTo>
                  <a:pt x="11632848" y="809587"/>
                  <a:pt x="11646260" y="821510"/>
                  <a:pt x="11666707" y="821510"/>
                </a:cubicBezTo>
                <a:cubicBezTo>
                  <a:pt x="11676547" y="821531"/>
                  <a:pt x="11690477" y="816654"/>
                  <a:pt x="11690477" y="812036"/>
                </a:cubicBezTo>
                <a:cubicBezTo>
                  <a:pt x="11690477" y="727498"/>
                  <a:pt x="11690477" y="727498"/>
                  <a:pt x="11690477" y="727498"/>
                </a:cubicBezTo>
                <a:cubicBezTo>
                  <a:pt x="11690477" y="724930"/>
                  <a:pt x="11689711" y="724801"/>
                  <a:pt x="11687919" y="724801"/>
                </a:cubicBezTo>
                <a:cubicBezTo>
                  <a:pt x="11681273" y="724801"/>
                  <a:pt x="11681273" y="724801"/>
                  <a:pt x="11681273" y="724801"/>
                </a:cubicBezTo>
                <a:close/>
                <a:moveTo>
                  <a:pt x="11786797" y="724552"/>
                </a:moveTo>
                <a:cubicBezTo>
                  <a:pt x="11785384" y="724552"/>
                  <a:pt x="11784607" y="724811"/>
                  <a:pt x="11784607" y="726732"/>
                </a:cubicBezTo>
                <a:cubicBezTo>
                  <a:pt x="11784607" y="817280"/>
                  <a:pt x="11784607" y="817280"/>
                  <a:pt x="11784607" y="817280"/>
                </a:cubicBezTo>
                <a:cubicBezTo>
                  <a:pt x="11784607" y="819071"/>
                  <a:pt x="11784995" y="819330"/>
                  <a:pt x="11786797" y="819330"/>
                </a:cubicBezTo>
                <a:cubicBezTo>
                  <a:pt x="11793864" y="819330"/>
                  <a:pt x="11793864" y="819330"/>
                  <a:pt x="11793864" y="819330"/>
                </a:cubicBezTo>
                <a:cubicBezTo>
                  <a:pt x="11795526" y="819330"/>
                  <a:pt x="11796303" y="819330"/>
                  <a:pt x="11796303" y="817409"/>
                </a:cubicBezTo>
                <a:cubicBezTo>
                  <a:pt x="11796303" y="726473"/>
                  <a:pt x="11796303" y="726473"/>
                  <a:pt x="11796303" y="726473"/>
                </a:cubicBezTo>
                <a:cubicBezTo>
                  <a:pt x="11796303" y="724552"/>
                  <a:pt x="11795407" y="724552"/>
                  <a:pt x="11793864" y="724552"/>
                </a:cubicBezTo>
                <a:cubicBezTo>
                  <a:pt x="11786797" y="724552"/>
                  <a:pt x="11786797" y="724552"/>
                  <a:pt x="11786797" y="724552"/>
                </a:cubicBezTo>
                <a:close/>
                <a:moveTo>
                  <a:pt x="11712617" y="723776"/>
                </a:moveTo>
                <a:cubicBezTo>
                  <a:pt x="11708291" y="723776"/>
                  <a:pt x="11705237" y="726851"/>
                  <a:pt x="11705237" y="730940"/>
                </a:cubicBezTo>
                <a:cubicBezTo>
                  <a:pt x="11705237" y="734781"/>
                  <a:pt x="11707913" y="737975"/>
                  <a:pt x="11712358" y="737975"/>
                </a:cubicBezTo>
                <a:cubicBezTo>
                  <a:pt x="11716933" y="737845"/>
                  <a:pt x="11719739" y="734263"/>
                  <a:pt x="11719609" y="730433"/>
                </a:cubicBezTo>
                <a:cubicBezTo>
                  <a:pt x="11719350" y="726462"/>
                  <a:pt x="11716178" y="723776"/>
                  <a:pt x="11712617" y="723776"/>
                </a:cubicBezTo>
                <a:close/>
                <a:moveTo>
                  <a:pt x="11855021" y="713601"/>
                </a:moveTo>
                <a:lnTo>
                  <a:pt x="11855284" y="713794"/>
                </a:lnTo>
                <a:lnTo>
                  <a:pt x="11855021" y="713860"/>
                </a:lnTo>
                <a:cubicBezTo>
                  <a:pt x="11855021" y="713860"/>
                  <a:pt x="11855021" y="713860"/>
                  <a:pt x="11855021" y="713601"/>
                </a:cubicBezTo>
                <a:close/>
                <a:moveTo>
                  <a:pt x="11847209" y="704235"/>
                </a:moveTo>
                <a:cubicBezTo>
                  <a:pt x="11851428" y="704235"/>
                  <a:pt x="11851428" y="704235"/>
                  <a:pt x="11851428" y="704235"/>
                </a:cubicBezTo>
                <a:cubicBezTo>
                  <a:pt x="11853608" y="704235"/>
                  <a:pt x="11857190" y="704235"/>
                  <a:pt x="11857190" y="707699"/>
                </a:cubicBezTo>
                <a:cubicBezTo>
                  <a:pt x="11857190" y="711162"/>
                  <a:pt x="11853478" y="711162"/>
                  <a:pt x="11851817" y="711162"/>
                </a:cubicBezTo>
                <a:cubicBezTo>
                  <a:pt x="11847209" y="711162"/>
                  <a:pt x="11847209" y="711162"/>
                  <a:pt x="11847209" y="711162"/>
                </a:cubicBezTo>
                <a:close/>
                <a:moveTo>
                  <a:pt x="11843627" y="701020"/>
                </a:moveTo>
                <a:lnTo>
                  <a:pt x="11843627" y="724250"/>
                </a:lnTo>
                <a:cubicBezTo>
                  <a:pt x="11847468" y="724250"/>
                  <a:pt x="11847468" y="724250"/>
                  <a:pt x="11847468" y="724250"/>
                </a:cubicBezTo>
                <a:cubicBezTo>
                  <a:pt x="11847468" y="714367"/>
                  <a:pt x="11847468" y="714367"/>
                  <a:pt x="11847468" y="714367"/>
                </a:cubicBezTo>
                <a:cubicBezTo>
                  <a:pt x="11849648" y="714367"/>
                  <a:pt x="11849648" y="714367"/>
                  <a:pt x="11849648" y="714367"/>
                </a:cubicBezTo>
                <a:cubicBezTo>
                  <a:pt x="11852723" y="714367"/>
                  <a:pt x="11853867" y="715521"/>
                  <a:pt x="11856553" y="720528"/>
                </a:cubicBezTo>
                <a:cubicBezTo>
                  <a:pt x="11858603" y="724121"/>
                  <a:pt x="11858603" y="724121"/>
                  <a:pt x="11858603" y="724121"/>
                </a:cubicBezTo>
                <a:cubicBezTo>
                  <a:pt x="11863081" y="724121"/>
                  <a:pt x="11863081" y="724121"/>
                  <a:pt x="11863081" y="724121"/>
                </a:cubicBezTo>
                <a:cubicBezTo>
                  <a:pt x="11860265" y="719503"/>
                  <a:pt x="11860265" y="719503"/>
                  <a:pt x="11860265" y="719503"/>
                </a:cubicBezTo>
                <a:cubicBezTo>
                  <a:pt x="11858857" y="717258"/>
                  <a:pt x="11857864" y="715942"/>
                  <a:pt x="11857064" y="715107"/>
                </a:cubicBezTo>
                <a:lnTo>
                  <a:pt x="11855284" y="713794"/>
                </a:lnTo>
                <a:lnTo>
                  <a:pt x="11858039" y="713106"/>
                </a:lnTo>
                <a:cubicBezTo>
                  <a:pt x="11860542" y="711860"/>
                  <a:pt x="11861549" y="709333"/>
                  <a:pt x="11861549" y="707310"/>
                </a:cubicBezTo>
                <a:cubicBezTo>
                  <a:pt x="11861549" y="705390"/>
                  <a:pt x="11860653" y="703717"/>
                  <a:pt x="11859370" y="702822"/>
                </a:cubicBezTo>
                <a:cubicBezTo>
                  <a:pt x="11857449" y="701020"/>
                  <a:pt x="11854385" y="701020"/>
                  <a:pt x="11851817" y="701020"/>
                </a:cubicBezTo>
                <a:cubicBezTo>
                  <a:pt x="11843627" y="701020"/>
                  <a:pt x="11843627" y="701020"/>
                  <a:pt x="11843627" y="701020"/>
                </a:cubicBezTo>
                <a:close/>
                <a:moveTo>
                  <a:pt x="11852712" y="694611"/>
                </a:moveTo>
                <a:cubicBezTo>
                  <a:pt x="11862563" y="694611"/>
                  <a:pt x="11870623" y="702563"/>
                  <a:pt x="11870623" y="712446"/>
                </a:cubicBezTo>
                <a:cubicBezTo>
                  <a:pt x="11870623" y="722330"/>
                  <a:pt x="11862693" y="730541"/>
                  <a:pt x="11852712" y="730541"/>
                </a:cubicBezTo>
                <a:cubicBezTo>
                  <a:pt x="11842861" y="730541"/>
                  <a:pt x="11834931" y="722330"/>
                  <a:pt x="11834931" y="712446"/>
                </a:cubicBezTo>
                <a:cubicBezTo>
                  <a:pt x="11834801" y="702563"/>
                  <a:pt x="11842732" y="694611"/>
                  <a:pt x="11852712" y="694611"/>
                </a:cubicBezTo>
                <a:close/>
                <a:moveTo>
                  <a:pt x="11852712" y="690888"/>
                </a:moveTo>
                <a:cubicBezTo>
                  <a:pt x="11840940" y="690888"/>
                  <a:pt x="11831348" y="700513"/>
                  <a:pt x="11831348" y="712446"/>
                </a:cubicBezTo>
                <a:cubicBezTo>
                  <a:pt x="11831348" y="724509"/>
                  <a:pt x="11840940" y="734004"/>
                  <a:pt x="11852712" y="734004"/>
                </a:cubicBezTo>
                <a:cubicBezTo>
                  <a:pt x="11864613" y="734004"/>
                  <a:pt x="11874076" y="724250"/>
                  <a:pt x="11874076" y="712446"/>
                </a:cubicBezTo>
                <a:cubicBezTo>
                  <a:pt x="11874076" y="700642"/>
                  <a:pt x="11864484" y="690888"/>
                  <a:pt x="11852712" y="690888"/>
                </a:cubicBezTo>
                <a:close/>
                <a:moveTo>
                  <a:pt x="11639380" y="551044"/>
                </a:moveTo>
                <a:cubicBezTo>
                  <a:pt x="11639972" y="550996"/>
                  <a:pt x="11640676" y="551284"/>
                  <a:pt x="11641189" y="551862"/>
                </a:cubicBezTo>
                <a:cubicBezTo>
                  <a:pt x="11649011" y="560062"/>
                  <a:pt x="11646325" y="621974"/>
                  <a:pt x="11644652" y="634274"/>
                </a:cubicBezTo>
                <a:cubicBezTo>
                  <a:pt x="11644264" y="637349"/>
                  <a:pt x="11641448" y="639788"/>
                  <a:pt x="11640682" y="633508"/>
                </a:cubicBezTo>
                <a:cubicBezTo>
                  <a:pt x="11639786" y="625567"/>
                  <a:pt x="11635557" y="607235"/>
                  <a:pt x="11634273" y="599671"/>
                </a:cubicBezTo>
                <a:cubicBezTo>
                  <a:pt x="11632859" y="592496"/>
                  <a:pt x="11636841" y="570582"/>
                  <a:pt x="11638243" y="552250"/>
                </a:cubicBezTo>
                <a:cubicBezTo>
                  <a:pt x="11638308" y="551479"/>
                  <a:pt x="11638788" y="551093"/>
                  <a:pt x="11639380" y="551044"/>
                </a:cubicBezTo>
                <a:close/>
                <a:moveTo>
                  <a:pt x="11490639" y="502002"/>
                </a:moveTo>
                <a:cubicBezTo>
                  <a:pt x="11510395" y="504700"/>
                  <a:pt x="11530399" y="505207"/>
                  <a:pt x="11550015" y="504052"/>
                </a:cubicBezTo>
                <a:cubicBezTo>
                  <a:pt x="11553220" y="516223"/>
                  <a:pt x="11552831" y="532116"/>
                  <a:pt x="11548343" y="536605"/>
                </a:cubicBezTo>
                <a:cubicBezTo>
                  <a:pt x="11541157" y="543910"/>
                  <a:pt x="11508722" y="542496"/>
                  <a:pt x="11499486" y="541094"/>
                </a:cubicBezTo>
                <a:cubicBezTo>
                  <a:pt x="11496918" y="540705"/>
                  <a:pt x="11494361" y="540327"/>
                  <a:pt x="11492948" y="533659"/>
                </a:cubicBezTo>
                <a:cubicBezTo>
                  <a:pt x="11491405" y="525837"/>
                  <a:pt x="11491275" y="511486"/>
                  <a:pt x="11490639" y="502002"/>
                </a:cubicBezTo>
                <a:close/>
                <a:moveTo>
                  <a:pt x="11594253" y="498797"/>
                </a:moveTo>
                <a:cubicBezTo>
                  <a:pt x="11599767" y="509048"/>
                  <a:pt x="11600155" y="514950"/>
                  <a:pt x="11598612" y="520075"/>
                </a:cubicBezTo>
                <a:cubicBezTo>
                  <a:pt x="11597069" y="525200"/>
                  <a:pt x="11589894" y="528146"/>
                  <a:pt x="11588351" y="527509"/>
                </a:cubicBezTo>
                <a:cubicBezTo>
                  <a:pt x="11588092" y="516482"/>
                  <a:pt x="11585147" y="508152"/>
                  <a:pt x="11580011" y="500718"/>
                </a:cubicBezTo>
                <a:cubicBezTo>
                  <a:pt x="11584510" y="499952"/>
                  <a:pt x="11589257" y="499315"/>
                  <a:pt x="11594253" y="498797"/>
                </a:cubicBezTo>
                <a:close/>
                <a:moveTo>
                  <a:pt x="11441405" y="491374"/>
                </a:moveTo>
                <a:cubicBezTo>
                  <a:pt x="11447684" y="493295"/>
                  <a:pt x="11454104" y="494967"/>
                  <a:pt x="11460384" y="496499"/>
                </a:cubicBezTo>
                <a:cubicBezTo>
                  <a:pt x="11456025" y="524056"/>
                  <a:pt x="11447436" y="531868"/>
                  <a:pt x="11442948" y="533670"/>
                </a:cubicBezTo>
                <a:cubicBezTo>
                  <a:pt x="11439473" y="535073"/>
                  <a:pt x="11431910" y="535839"/>
                  <a:pt x="11434607" y="527131"/>
                </a:cubicBezTo>
                <a:cubicBezTo>
                  <a:pt x="11437305" y="518413"/>
                  <a:pt x="11439862" y="503545"/>
                  <a:pt x="11441405" y="491374"/>
                </a:cubicBezTo>
                <a:close/>
                <a:moveTo>
                  <a:pt x="11419441" y="484343"/>
                </a:moveTo>
                <a:cubicBezTo>
                  <a:pt x="11421606" y="484488"/>
                  <a:pt x="11425004" y="485801"/>
                  <a:pt x="11431543" y="488299"/>
                </a:cubicBezTo>
                <a:cubicBezTo>
                  <a:pt x="11430647" y="509447"/>
                  <a:pt x="11425263" y="521499"/>
                  <a:pt x="11423202" y="532257"/>
                </a:cubicBezTo>
                <a:cubicBezTo>
                  <a:pt x="11420893" y="543284"/>
                  <a:pt x="11433204" y="545841"/>
                  <a:pt x="11444102" y="543154"/>
                </a:cubicBezTo>
                <a:cubicBezTo>
                  <a:pt x="11454870" y="540468"/>
                  <a:pt x="11465132" y="529181"/>
                  <a:pt x="11469620" y="498549"/>
                </a:cubicBezTo>
                <a:cubicBezTo>
                  <a:pt x="11473850" y="499574"/>
                  <a:pt x="11477313" y="500092"/>
                  <a:pt x="11481672" y="500729"/>
                </a:cubicBezTo>
                <a:cubicBezTo>
                  <a:pt x="11482190" y="532516"/>
                  <a:pt x="11484111" y="539691"/>
                  <a:pt x="11485395" y="542507"/>
                </a:cubicBezTo>
                <a:cubicBezTo>
                  <a:pt x="11487833" y="548398"/>
                  <a:pt x="11493735" y="550330"/>
                  <a:pt x="11498472" y="550707"/>
                </a:cubicBezTo>
                <a:cubicBezTo>
                  <a:pt x="11523353" y="552628"/>
                  <a:pt x="11547458" y="551862"/>
                  <a:pt x="11555917" y="543532"/>
                </a:cubicBezTo>
                <a:cubicBezTo>
                  <a:pt x="11564506" y="535073"/>
                  <a:pt x="11561560" y="514443"/>
                  <a:pt x="11559122" y="503286"/>
                </a:cubicBezTo>
                <a:cubicBezTo>
                  <a:pt x="11563092" y="502898"/>
                  <a:pt x="11566308" y="502520"/>
                  <a:pt x="11570149" y="502002"/>
                </a:cubicBezTo>
                <a:cubicBezTo>
                  <a:pt x="11578360" y="511486"/>
                  <a:pt x="11579385" y="521866"/>
                  <a:pt x="11579385" y="528405"/>
                </a:cubicBezTo>
                <a:cubicBezTo>
                  <a:pt x="11579385" y="535709"/>
                  <a:pt x="11587466" y="539551"/>
                  <a:pt x="11598752" y="531739"/>
                </a:cubicBezTo>
                <a:cubicBezTo>
                  <a:pt x="11609909" y="523916"/>
                  <a:pt x="11608884" y="510202"/>
                  <a:pt x="11602723" y="497772"/>
                </a:cubicBezTo>
                <a:cubicBezTo>
                  <a:pt x="11628371" y="495722"/>
                  <a:pt x="11627086" y="512511"/>
                  <a:pt x="11625673" y="533282"/>
                </a:cubicBezTo>
                <a:cubicBezTo>
                  <a:pt x="11624389" y="553793"/>
                  <a:pt x="11619771" y="582882"/>
                  <a:pt x="11612855" y="586216"/>
                </a:cubicBezTo>
                <a:cubicBezTo>
                  <a:pt x="11605798" y="589162"/>
                  <a:pt x="11594771" y="570323"/>
                  <a:pt x="11537326" y="569427"/>
                </a:cubicBezTo>
                <a:cubicBezTo>
                  <a:pt x="11496551" y="568661"/>
                  <a:pt x="11465261" y="574175"/>
                  <a:pt x="11459488" y="611465"/>
                </a:cubicBezTo>
                <a:cubicBezTo>
                  <a:pt x="11459100" y="614151"/>
                  <a:pt x="11457568" y="613774"/>
                  <a:pt x="11456154" y="612360"/>
                </a:cubicBezTo>
                <a:cubicBezTo>
                  <a:pt x="11444998" y="600189"/>
                  <a:pt x="11434737" y="594676"/>
                  <a:pt x="11418325" y="585191"/>
                </a:cubicBezTo>
                <a:cubicBezTo>
                  <a:pt x="11401785" y="575448"/>
                  <a:pt x="11390757" y="562382"/>
                  <a:pt x="11388707" y="549434"/>
                </a:cubicBezTo>
                <a:cubicBezTo>
                  <a:pt x="11386657" y="536486"/>
                  <a:pt x="11391405" y="519190"/>
                  <a:pt x="11414743" y="487403"/>
                </a:cubicBezTo>
                <a:cubicBezTo>
                  <a:pt x="11416346" y="485224"/>
                  <a:pt x="11417276" y="484199"/>
                  <a:pt x="11419441" y="484343"/>
                </a:cubicBezTo>
                <a:close/>
                <a:moveTo>
                  <a:pt x="11358173" y="469801"/>
                </a:moveTo>
                <a:cubicBezTo>
                  <a:pt x="11352402" y="469752"/>
                  <a:pt x="11342133" y="472433"/>
                  <a:pt x="11346260" y="478275"/>
                </a:cubicBezTo>
                <a:cubicBezTo>
                  <a:pt x="11351763" y="486314"/>
                  <a:pt x="11362639" y="473042"/>
                  <a:pt x="11361744" y="470744"/>
                </a:cubicBezTo>
                <a:cubicBezTo>
                  <a:pt x="11361520" y="470137"/>
                  <a:pt x="11360096" y="469817"/>
                  <a:pt x="11358173" y="469801"/>
                </a:cubicBezTo>
                <a:close/>
                <a:moveTo>
                  <a:pt x="11354455" y="453696"/>
                </a:moveTo>
                <a:cubicBezTo>
                  <a:pt x="11359222" y="452705"/>
                  <a:pt x="11365520" y="456094"/>
                  <a:pt x="11379471" y="464454"/>
                </a:cubicBezTo>
                <a:cubicBezTo>
                  <a:pt x="11402044" y="478167"/>
                  <a:pt x="11408971" y="475351"/>
                  <a:pt x="11401267" y="487522"/>
                </a:cubicBezTo>
                <a:cubicBezTo>
                  <a:pt x="11396519" y="495345"/>
                  <a:pt x="11380486" y="516104"/>
                  <a:pt x="11376515" y="541611"/>
                </a:cubicBezTo>
                <a:cubicBezTo>
                  <a:pt x="11371131" y="534436"/>
                  <a:pt x="11363815" y="516622"/>
                  <a:pt x="11357665" y="511745"/>
                </a:cubicBezTo>
                <a:cubicBezTo>
                  <a:pt x="11345613" y="502261"/>
                  <a:pt x="11335222" y="509566"/>
                  <a:pt x="11330734" y="504052"/>
                </a:cubicBezTo>
                <a:cubicBezTo>
                  <a:pt x="11325727" y="498031"/>
                  <a:pt x="11323677" y="497643"/>
                  <a:pt x="11328166" y="491881"/>
                </a:cubicBezTo>
                <a:cubicBezTo>
                  <a:pt x="11328166" y="491881"/>
                  <a:pt x="11333550" y="484835"/>
                  <a:pt x="11335600" y="481879"/>
                </a:cubicBezTo>
                <a:cubicBezTo>
                  <a:pt x="11337909" y="478804"/>
                  <a:pt x="11337272" y="473031"/>
                  <a:pt x="11338297" y="470604"/>
                </a:cubicBezTo>
                <a:cubicBezTo>
                  <a:pt x="11339193" y="468165"/>
                  <a:pt x="11344707" y="460861"/>
                  <a:pt x="11349972" y="456124"/>
                </a:cubicBezTo>
                <a:cubicBezTo>
                  <a:pt x="11351448" y="454843"/>
                  <a:pt x="11352866" y="454026"/>
                  <a:pt x="11354455" y="453696"/>
                </a:cubicBezTo>
                <a:close/>
                <a:moveTo>
                  <a:pt x="11324025" y="392924"/>
                </a:moveTo>
                <a:cubicBezTo>
                  <a:pt x="11322935" y="393149"/>
                  <a:pt x="11322134" y="395329"/>
                  <a:pt x="11322134" y="400006"/>
                </a:cubicBezTo>
                <a:cubicBezTo>
                  <a:pt x="11322134" y="423463"/>
                  <a:pt x="11332395" y="437555"/>
                  <a:pt x="11335988" y="441536"/>
                </a:cubicBezTo>
                <a:cubicBezTo>
                  <a:pt x="11339452" y="445507"/>
                  <a:pt x="11341114" y="449477"/>
                  <a:pt x="11339193" y="451786"/>
                </a:cubicBezTo>
                <a:cubicBezTo>
                  <a:pt x="11334068" y="457807"/>
                  <a:pt x="11328554" y="464475"/>
                  <a:pt x="11328425" y="467162"/>
                </a:cubicBezTo>
                <a:cubicBezTo>
                  <a:pt x="11328166" y="470107"/>
                  <a:pt x="11328425" y="471521"/>
                  <a:pt x="11327270" y="474855"/>
                </a:cubicBezTo>
                <a:cubicBezTo>
                  <a:pt x="11326116" y="478059"/>
                  <a:pt x="11322016" y="482796"/>
                  <a:pt x="11315477" y="490748"/>
                </a:cubicBezTo>
                <a:cubicBezTo>
                  <a:pt x="11311884" y="495366"/>
                  <a:pt x="11314193" y="500362"/>
                  <a:pt x="11317268" y="503696"/>
                </a:cubicBezTo>
                <a:cubicBezTo>
                  <a:pt x="11320861" y="507796"/>
                  <a:pt x="11323300" y="512544"/>
                  <a:pt x="11327788" y="514594"/>
                </a:cubicBezTo>
                <a:cubicBezTo>
                  <a:pt x="11332406" y="516644"/>
                  <a:pt x="11336506" y="515230"/>
                  <a:pt x="11341890" y="516137"/>
                </a:cubicBezTo>
                <a:cubicBezTo>
                  <a:pt x="11347016" y="517032"/>
                  <a:pt x="11353436" y="520107"/>
                  <a:pt x="11358561" y="529214"/>
                </a:cubicBezTo>
                <a:cubicBezTo>
                  <a:pt x="11365995" y="542539"/>
                  <a:pt x="11373947" y="563310"/>
                  <a:pt x="11388308" y="580476"/>
                </a:cubicBezTo>
                <a:cubicBezTo>
                  <a:pt x="11394717" y="588040"/>
                  <a:pt x="11394717" y="602013"/>
                  <a:pt x="11394717" y="606490"/>
                </a:cubicBezTo>
                <a:cubicBezTo>
                  <a:pt x="11395106" y="646736"/>
                  <a:pt x="11374076" y="684803"/>
                  <a:pt x="11360611" y="709026"/>
                </a:cubicBezTo>
                <a:cubicBezTo>
                  <a:pt x="11357406" y="714669"/>
                  <a:pt x="11358172" y="719406"/>
                  <a:pt x="11362402" y="719406"/>
                </a:cubicBezTo>
                <a:cubicBezTo>
                  <a:pt x="11367279" y="719406"/>
                  <a:pt x="11385481" y="719406"/>
                  <a:pt x="11388567" y="719406"/>
                </a:cubicBezTo>
                <a:cubicBezTo>
                  <a:pt x="11391901" y="719406"/>
                  <a:pt x="11393951" y="715813"/>
                  <a:pt x="11394210" y="711972"/>
                </a:cubicBezTo>
                <a:cubicBezTo>
                  <a:pt x="11396519" y="679030"/>
                  <a:pt x="11415110" y="618661"/>
                  <a:pt x="11429094" y="608411"/>
                </a:cubicBezTo>
                <a:cubicBezTo>
                  <a:pt x="11452561" y="623150"/>
                  <a:pt x="11475900" y="654678"/>
                  <a:pt x="11464484" y="709921"/>
                </a:cubicBezTo>
                <a:cubicBezTo>
                  <a:pt x="11463966" y="712997"/>
                  <a:pt x="11461150" y="719665"/>
                  <a:pt x="11468207" y="719665"/>
                </a:cubicBezTo>
                <a:cubicBezTo>
                  <a:pt x="11468207" y="719665"/>
                  <a:pt x="11488082" y="719665"/>
                  <a:pt x="11490650" y="719665"/>
                </a:cubicBezTo>
                <a:cubicBezTo>
                  <a:pt x="11493595" y="719665"/>
                  <a:pt x="11498343" y="718510"/>
                  <a:pt x="11497954" y="713126"/>
                </a:cubicBezTo>
                <a:cubicBezTo>
                  <a:pt x="11496800" y="691590"/>
                  <a:pt x="11478716" y="646100"/>
                  <a:pt x="11473979" y="619309"/>
                </a:cubicBezTo>
                <a:cubicBezTo>
                  <a:pt x="11471034" y="602390"/>
                  <a:pt x="11484499" y="572147"/>
                  <a:pt x="11535276" y="595345"/>
                </a:cubicBezTo>
                <a:cubicBezTo>
                  <a:pt x="11554773" y="577790"/>
                  <a:pt x="11580421" y="588428"/>
                  <a:pt x="11569383" y="622136"/>
                </a:cubicBezTo>
                <a:cubicBezTo>
                  <a:pt x="11558614" y="655714"/>
                  <a:pt x="11549249" y="670452"/>
                  <a:pt x="11512315" y="709932"/>
                </a:cubicBezTo>
                <a:cubicBezTo>
                  <a:pt x="11508215" y="714550"/>
                  <a:pt x="11507827" y="719417"/>
                  <a:pt x="11514624" y="719417"/>
                </a:cubicBezTo>
                <a:cubicBezTo>
                  <a:pt x="11517958" y="719417"/>
                  <a:pt x="11534888" y="719417"/>
                  <a:pt x="11538351" y="719417"/>
                </a:cubicBezTo>
                <a:cubicBezTo>
                  <a:pt x="11543476" y="719417"/>
                  <a:pt x="11545537" y="717874"/>
                  <a:pt x="11547069" y="713903"/>
                </a:cubicBezTo>
                <a:cubicBezTo>
                  <a:pt x="11548483" y="709673"/>
                  <a:pt x="11565412" y="656102"/>
                  <a:pt x="11598623" y="630983"/>
                </a:cubicBezTo>
                <a:cubicBezTo>
                  <a:pt x="11601191" y="629063"/>
                  <a:pt x="11603371" y="620474"/>
                  <a:pt x="11608496" y="600869"/>
                </a:cubicBezTo>
                <a:cubicBezTo>
                  <a:pt x="11624529" y="622017"/>
                  <a:pt x="11626709" y="660461"/>
                  <a:pt x="11599130" y="710062"/>
                </a:cubicBezTo>
                <a:cubicBezTo>
                  <a:pt x="11596314" y="715316"/>
                  <a:pt x="11597976" y="719287"/>
                  <a:pt x="11601439" y="719287"/>
                </a:cubicBezTo>
                <a:cubicBezTo>
                  <a:pt x="11603360" y="719287"/>
                  <a:pt x="11618368" y="719287"/>
                  <a:pt x="11622857" y="719287"/>
                </a:cubicBezTo>
                <a:cubicBezTo>
                  <a:pt x="11626828" y="719287"/>
                  <a:pt x="11627982" y="717107"/>
                  <a:pt x="11629525" y="711087"/>
                </a:cubicBezTo>
                <a:cubicBezTo>
                  <a:pt x="11631446" y="703653"/>
                  <a:pt x="11632093" y="700060"/>
                  <a:pt x="11634650" y="693014"/>
                </a:cubicBezTo>
                <a:cubicBezTo>
                  <a:pt x="11636193" y="688655"/>
                  <a:pt x="11636830" y="687889"/>
                  <a:pt x="11654018" y="688018"/>
                </a:cubicBezTo>
                <a:cubicBezTo>
                  <a:pt x="11659402" y="688018"/>
                  <a:pt x="11659024" y="685202"/>
                  <a:pt x="11659024" y="680584"/>
                </a:cubicBezTo>
                <a:cubicBezTo>
                  <a:pt x="11659272" y="614151"/>
                  <a:pt x="11659661" y="544687"/>
                  <a:pt x="11654654" y="520852"/>
                </a:cubicBezTo>
                <a:cubicBezTo>
                  <a:pt x="11647727" y="487403"/>
                  <a:pt x="11618617" y="486378"/>
                  <a:pt x="11603360" y="487533"/>
                </a:cubicBezTo>
                <a:cubicBezTo>
                  <a:pt x="11587456" y="488688"/>
                  <a:pt x="11557449" y="493424"/>
                  <a:pt x="11526547" y="493424"/>
                </a:cubicBezTo>
                <a:cubicBezTo>
                  <a:pt x="11484866" y="493424"/>
                  <a:pt x="11437930" y="481631"/>
                  <a:pt x="11402033" y="464842"/>
                </a:cubicBezTo>
                <a:cubicBezTo>
                  <a:pt x="11395753" y="462026"/>
                  <a:pt x="11398958" y="460742"/>
                  <a:pt x="11401644" y="459199"/>
                </a:cubicBezTo>
                <a:cubicBezTo>
                  <a:pt x="11415110" y="451765"/>
                  <a:pt x="11426774" y="445097"/>
                  <a:pt x="11433960" y="433314"/>
                </a:cubicBezTo>
                <a:cubicBezTo>
                  <a:pt x="11439473" y="424348"/>
                  <a:pt x="11437423" y="421521"/>
                  <a:pt x="11431392" y="426398"/>
                </a:cubicBezTo>
                <a:cubicBezTo>
                  <a:pt x="11415110" y="439982"/>
                  <a:pt x="11391890" y="447546"/>
                  <a:pt x="11365995" y="438191"/>
                </a:cubicBezTo>
                <a:cubicBezTo>
                  <a:pt x="11339959" y="428966"/>
                  <a:pt x="11329957" y="403847"/>
                  <a:pt x="11327648" y="397568"/>
                </a:cubicBezTo>
                <a:cubicBezTo>
                  <a:pt x="11326493" y="394428"/>
                  <a:pt x="11325115" y="392699"/>
                  <a:pt x="11324025" y="392924"/>
                </a:cubicBezTo>
                <a:close/>
                <a:moveTo>
                  <a:pt x="11391491" y="334037"/>
                </a:moveTo>
                <a:cubicBezTo>
                  <a:pt x="11410848" y="334037"/>
                  <a:pt x="11426364" y="349790"/>
                  <a:pt x="11426364" y="368996"/>
                </a:cubicBezTo>
                <a:cubicBezTo>
                  <a:pt x="11426364" y="388332"/>
                  <a:pt x="11410848" y="403955"/>
                  <a:pt x="11391491" y="403955"/>
                </a:cubicBezTo>
                <a:cubicBezTo>
                  <a:pt x="11372134" y="403955"/>
                  <a:pt x="11356360" y="388332"/>
                  <a:pt x="11356360" y="368996"/>
                </a:cubicBezTo>
                <a:cubicBezTo>
                  <a:pt x="11356360" y="349542"/>
                  <a:pt x="11372134" y="334037"/>
                  <a:pt x="11391491" y="334037"/>
                </a:cubicBezTo>
                <a:close/>
                <a:moveTo>
                  <a:pt x="11389959" y="321618"/>
                </a:moveTo>
                <a:cubicBezTo>
                  <a:pt x="11360729" y="321618"/>
                  <a:pt x="11337262" y="345442"/>
                  <a:pt x="11337262" y="374510"/>
                </a:cubicBezTo>
                <a:cubicBezTo>
                  <a:pt x="11337262" y="403836"/>
                  <a:pt x="11360978" y="427401"/>
                  <a:pt x="11389959" y="427401"/>
                </a:cubicBezTo>
                <a:cubicBezTo>
                  <a:pt x="11419189" y="427401"/>
                  <a:pt x="11442656" y="403577"/>
                  <a:pt x="11442656" y="374510"/>
                </a:cubicBezTo>
                <a:cubicBezTo>
                  <a:pt x="11442656" y="345183"/>
                  <a:pt x="11419189" y="321618"/>
                  <a:pt x="11389959" y="321618"/>
                </a:cubicBezTo>
                <a:close/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close/>
              </a:path>
            </a:pathLst>
          </a:custGeom>
          <a:solidFill>
            <a:srgbClr val="D4D7DC"/>
          </a:solidFill>
        </p:spPr>
        <p:txBody>
          <a:bodyPr wrap="square" tIns="7200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C3EE7D-BC64-44D4-965B-AAAA5C4BD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>
              <a:lnSpc>
                <a:spcPct val="120000"/>
              </a:lnSpc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2E69A22-4168-4C89-915E-68554934A99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80000" y="2781000"/>
            <a:ext cx="4164000" cy="3429000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2E73A1B-874D-4A61-944C-6104EF22B9D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A7299B3-696F-45BC-8E56-1C74D63E639F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123DF4B-C0EB-448C-B355-2743629DD45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92667E6-AA52-4ED3-B122-113FB4F8CA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" name="Tagline" descr="{&quot;templafy&quot;:{&quot;type&quot;:&quot;image&quot;,&quot;inheritDimensions&quot;:&quot;inheritNone&quot;,&quot;width&quot;:&quot;7.67 cm&quot;,&quot;binding&quot;:&quot;Form.PLogoChoice.PLogoInsertionWhite&quot;}}" title="Form.PLogoChoice.PLogoInsertionWhite">
            <a:extLst>
              <a:ext uri="{FF2B5EF4-FFF2-40B4-BE49-F238E27FC236}">
                <a16:creationId xmlns:a16="http://schemas.microsoft.com/office/drawing/2014/main" id="{B6E51AD8-D258-457C-9483-72C95483B714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4149932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0208B7A-D44C-74C8-6D9D-15C2D4DD11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0B41F30-E486-71CF-8C97-8131DF8ED2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98AE7E5A-67A6-2346-D3A4-402D6FDF2D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F6E93183-F49E-A4BA-A007-E79297C116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0148E-80EA-4707-BC54-0BF4CCE74621}" type="datetimeFigureOut">
              <a:rPr lang="it-IT" smtClean="0"/>
              <a:t>29/01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7348E997-2A00-C91A-9839-9D30CB70F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3C18F7C2-C7D6-7E8A-6989-24E6527F5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196487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82C40FC-7870-4C1F-9C95-3246AC8AF6C8}"/>
              </a:ext>
            </a:extLst>
          </p:cNvPr>
          <p:cNvSpPr/>
          <p:nvPr userDrawn="1"/>
        </p:nvSpPr>
        <p:spPr bwMode="ltGray">
          <a:xfrm>
            <a:off x="324001" y="3429000"/>
            <a:ext cx="11544001" cy="3105000"/>
          </a:xfrm>
          <a:prstGeom prst="rect">
            <a:avLst/>
          </a:prstGeom>
          <a:solidFill>
            <a:srgbClr val="FC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1" y="648000"/>
            <a:ext cx="8652001" cy="3105000"/>
          </a:xfrm>
        </p:spPr>
        <p:txBody>
          <a:bodyPr anchor="b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B6B429-7799-4339-B7CE-2765835DF7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92000" y="4077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7B2CB86-6590-49D4-96EB-823C6647FE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35999" y="4077000"/>
            <a:ext cx="4164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5E1B88D-BEB4-49A3-83C3-C98DF1AC33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24000" y="4077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5886000"/>
            <a:ext cx="1920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3F839-4B92-4EA0-A2E5-D41A6C25ABAD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776396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82C40FC-7870-4C1F-9C95-3246AC8AF6C8}"/>
              </a:ext>
            </a:extLst>
          </p:cNvPr>
          <p:cNvSpPr/>
          <p:nvPr userDrawn="1"/>
        </p:nvSpPr>
        <p:spPr bwMode="ltGray">
          <a:xfrm>
            <a:off x="2892002" y="324000"/>
            <a:ext cx="8975999" cy="6210000"/>
          </a:xfrm>
          <a:prstGeom prst="rect">
            <a:avLst/>
          </a:prstGeom>
          <a:solidFill>
            <a:srgbClr val="D4E9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4164000" cy="5562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3AFDB-4271-4C68-A703-EF1F536B75EF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CDAC364-33E1-4E5D-B7FA-E4D38492129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5999" y="648000"/>
            <a:ext cx="4164001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8270947-5EF6-40DC-A2E5-BBCD8A56EE7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27561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82C40FC-7870-4C1F-9C95-3246AC8AF6C8}"/>
              </a:ext>
            </a:extLst>
          </p:cNvPr>
          <p:cNvSpPr/>
          <p:nvPr userDrawn="1"/>
        </p:nvSpPr>
        <p:spPr bwMode="ltGray">
          <a:xfrm>
            <a:off x="5136001" y="324000"/>
            <a:ext cx="6732001" cy="6210000"/>
          </a:xfrm>
          <a:prstGeom prst="rect">
            <a:avLst/>
          </a:prstGeom>
          <a:solidFill>
            <a:srgbClr val="D8EA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6408000" cy="2133000"/>
          </a:xfrm>
        </p:spPr>
        <p:txBody>
          <a:bodyPr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B6B429-7799-4339-B7CE-2765835DF7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92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7B2CB86-6590-49D4-96EB-823C6647FE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0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321D69-C00A-46C7-AFEA-2A3B13BE34A9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7680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82C40FC-7870-4C1F-9C95-3246AC8AF6C8}"/>
              </a:ext>
            </a:extLst>
          </p:cNvPr>
          <p:cNvSpPr/>
          <p:nvPr userDrawn="1"/>
        </p:nvSpPr>
        <p:spPr bwMode="ltGray">
          <a:xfrm>
            <a:off x="2892002" y="324000"/>
            <a:ext cx="8975999" cy="6210000"/>
          </a:xfrm>
          <a:prstGeom prst="rect">
            <a:avLst/>
          </a:prstGeom>
          <a:solidFill>
            <a:srgbClr val="E9EB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4164000" cy="3105000"/>
          </a:xfrm>
        </p:spPr>
        <p:txBody>
          <a:bodyPr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464A8D-000C-41ED-950D-72EC10DCD4C6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0C40FC7-04A9-4263-9DB4-3DAAFE35D36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7999" y="4077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D3F5C81B-CCBB-449E-A906-622504023D2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136001" y="648000"/>
            <a:ext cx="6408001" cy="3105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BBF8239-2E8F-4667-916C-3F586A89212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135999" y="4077001"/>
            <a:ext cx="4164000" cy="2133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0901DBFD-EC7A-43B4-895D-0575D5391E8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9623999" y="4076999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091769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 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4162425" cy="1292867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135999" y="3429000"/>
            <a:ext cx="4164001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135999" y="648000"/>
            <a:ext cx="4164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52F6B10-75DE-4EAB-81DC-766BA163DBE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623999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73E82-C0DB-4B82-ABC7-7CF728783897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F5229E68-3EC6-4831-B439-8804F87FEA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7508295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 B.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4162425" cy="1292867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380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380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52F6B10-75DE-4EAB-81DC-766BA163DBE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624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8DCFC2-230E-4FD6-8E87-D356D804C44A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A2ECB2A-19E9-48E5-91DB-E34F20D2AB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59513392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 C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4162425" cy="1292867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624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9624000" y="648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380000" y="648000"/>
            <a:ext cx="1920000" cy="55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2B9CA2-FCF6-4411-BE43-CEE3EB581CD0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F1618E7-6259-402C-A006-7EB43B92C8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0352974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 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8000"/>
            <a:ext cx="10896000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1" y="1548000"/>
            <a:ext cx="10896001" cy="46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043247-24DB-41C0-A642-086B46ACAA44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0D294CC-24C2-47E3-B826-6C4083885A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67258729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 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6601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547701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9200" y="1547701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452876-908E-444B-9835-ADB51D6628AB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AF405E3-B39D-45EE-8E47-4F2225BD2A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32212985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83BF171-11B0-4BBC-A5E0-54E06540B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0B67E-998B-4D45-BA54-A1E612DB3CD6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D4BEBA1-3B3D-4B4B-9C17-2B3431510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A63ACE-2F21-4C6E-8E2B-F2CF7446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135AE9C-0192-4702-9483-2D7F666258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7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3093570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BBAF00C-5BF8-0BBD-AC4F-FB1D19F9C2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FB7B8D49-E175-FA3A-4FEF-82A11FA2D0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0D9DECEE-E184-CA30-6A00-36C3E700B5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6E18FF0A-3812-6F0F-9FF2-539DD8B795A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BE7B22C0-085B-DE1A-E092-048D1E94C3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DA71E727-CED4-1BDD-56C6-0D8656C750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0148E-80EA-4707-BC54-0BF4CCE74621}" type="datetimeFigureOut">
              <a:rPr lang="it-IT" smtClean="0"/>
              <a:t>29/01/2025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927D0C06-6923-BE63-534F-96165A4D41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18C7061C-2E5D-7931-EC17-B8A9E97D0B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456831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18F144-C552-47DE-B37E-F764CB8D0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6BB79-7576-480D-960F-3B4B37225968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59BE18-6820-417E-88D1-C143F8462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EC8840-13BA-406D-AE15-E96701F6D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472476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7581" y="1608016"/>
            <a:ext cx="2786833" cy="4001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PICTURES</a:t>
            </a:r>
            <a:br>
              <a:rPr lang="en-GB" sz="900" dirty="0"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GB" altLang="da-DK" sz="900" b="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254412" y="187609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7700" y="1613648"/>
            <a:ext cx="2280360" cy="5001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TEXT STYLES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</a:t>
            </a:r>
            <a:b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sz="90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600" dirty="0"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67581" y="3322849"/>
            <a:ext cx="257143" cy="285715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68122" y="2599669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54413" y="3118827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4002" y="4313403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4002" y="5641557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0434" y="3928567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729773" y="1608017"/>
            <a:ext cx="2358243" cy="4047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GRIDLINES</a:t>
            </a:r>
            <a:endParaRPr lang="en-GB" sz="16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647700" y="448713"/>
            <a:ext cx="11001373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66197" y="4635850"/>
            <a:ext cx="650851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4001" y="5077013"/>
            <a:ext cx="475428" cy="17676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B97ADE-DB50-43D7-B6D7-6AA6A44173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62255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17A2F329-74D5-4599-B454-994C3A5E5AA3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13A6A0-AAC5-4762-99A3-8E67DE5BC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6A718C-8117-4521-935E-A616BB58A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996013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4" y="656825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 dirty="0">
                <a:solidFill>
                  <a:schemeClr val="bg1"/>
                </a:solidFill>
              </a:rPr>
            </a:b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5" y="3325227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5"/>
            <a:ext cx="10152347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 dirty="0">
                <a:solidFill>
                  <a:schemeClr val="bg1"/>
                </a:solidFill>
              </a:rPr>
              <a:t>Do not use </a:t>
            </a:r>
            <a:endParaRPr lang="en-GB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186455"/>
            <a:ext cx="11356975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FED93FBC-0A9E-4A96-B0F8-8555185C6A52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12535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porting 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5ABC87-3A04-44FB-BB7A-33BF50DF4E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286333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5ABC87-3A04-44FB-BB7A-33BF50DF4E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C4D5D10-6667-455E-9FA4-485E2099BA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0" i="0" baseline="0" noProof="0" dirty="0" err="1">
              <a:latin typeface="Apis For Office" panose="020B0504010101010104" pitchFamily="34" charset="0"/>
              <a:ea typeface="+mj-ea"/>
              <a:cs typeface="+mj-cs"/>
              <a:sym typeface="Apis For Office" panose="020B05040101010101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8000"/>
            <a:ext cx="10896000" cy="900000"/>
          </a:xfrm>
        </p:spPr>
        <p:txBody>
          <a:bodyPr/>
          <a:lstStyle>
            <a:lvl1pPr>
              <a:defRPr sz="28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020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NNCon slidepack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0D294CC-24C2-47E3-B826-6C4083885A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6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95881076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B88CEAB-194B-4BB7-878C-8A5F4A23A3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4431734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B88CEAB-194B-4BB7-878C-8A5F4A23A3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3CC7046-C418-4EF4-9FEF-B23805165B5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6A7C7A4-676C-4857-86C2-A2C8FBC5824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2401" y="1749631"/>
            <a:ext cx="11346265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5CCE8F-9ABF-4CEF-89BD-59D8FB32D8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3335" y="1047571"/>
            <a:ext cx="11345333" cy="431800"/>
          </a:xfrm>
        </p:spPr>
        <p:txBody>
          <a:bodyPr>
            <a:noAutofit/>
          </a:bodyPr>
          <a:lstStyle>
            <a:lvl1pPr marL="0" indent="0">
              <a:buNone/>
              <a:defRPr sz="1867" b="1">
                <a:solidFill>
                  <a:srgbClr val="009FDA"/>
                </a:solidFill>
              </a:defRPr>
            </a:lvl1pPr>
          </a:lstStyle>
          <a:p>
            <a:pPr lvl="0"/>
            <a:r>
              <a:rPr lang="en-GB" sz="1867" dirty="0"/>
              <a:t>CLICK TO ENTER SUBTITLE</a:t>
            </a:r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4A838FA-40C4-4CCF-959E-12AB380A1C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2401" y="5702301"/>
            <a:ext cx="11346267" cy="1036632"/>
          </a:xfrm>
        </p:spPr>
        <p:txBody>
          <a:bodyPr rIns="0" anchor="b">
            <a:noAutofit/>
          </a:bodyPr>
          <a:lstStyle>
            <a:lvl1pPr marL="0" marR="0" indent="0" algn="l" defTabSz="121914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Verdana" pitchFamily="34" charset="0"/>
              <a:buNone/>
              <a:tabLst/>
              <a:defRPr sz="933" baseline="0">
                <a:solidFill>
                  <a:srgbClr val="82786F"/>
                </a:solidFill>
              </a:defRPr>
            </a:lvl1pPr>
          </a:lstStyle>
          <a:p>
            <a:r>
              <a:rPr lang="da-DK" dirty="0"/>
              <a:t>Click to add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6640F9-9921-4116-B82E-28EE1A934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400" y="128981"/>
            <a:ext cx="11347200" cy="882007"/>
          </a:xfrm>
        </p:spPr>
        <p:txBody>
          <a:bodyPr anchor="b" anchorCtr="0"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303889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444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3357" y="6019901"/>
            <a:ext cx="1134626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74" y="125269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337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/>
              <a:t>Confidential - Semaglutide Obesity</a:t>
            </a:r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6D5905A-2D86-4941-AAE9-D40D1BB6A3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358" y="638141"/>
            <a:ext cx="11346265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08684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3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36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resentation titl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36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Date</a:t>
            </a:r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459" eaLnBrk="1" hangingPunct="1">
              <a:defRPr sz="8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N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6924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0F2FC6-23E8-48CD-A276-3ECDE64404D0}" type="datetimeFigureOut">
              <a:rPr lang="en-US"/>
              <a:pPr>
                <a:defRPr/>
              </a:pPr>
              <a:t>1/29/2025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indent="0">
              <a:buFont typeface="Arial" panose="020B0604020202020204" pitchFamily="34" charset="0"/>
              <a:buNone/>
              <a:defRPr sz="1333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A242FF-823C-4245-8B44-3CD2F88AC32A}" type="slidenum">
              <a:rPr lang="en-US"/>
              <a:pPr>
                <a:defRPr/>
              </a:pPr>
              <a:t>‹N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57F9679-645F-4A95-BFEF-C217101CF93F}"/>
              </a:ext>
            </a:extLst>
          </p:cNvPr>
          <p:cNvSpPr/>
          <p:nvPr userDrawn="1"/>
        </p:nvSpPr>
        <p:spPr>
          <a:xfrm>
            <a:off x="0" y="1556089"/>
            <a:ext cx="12192000" cy="4372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86188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. Content Tru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1250300"/>
            <a:ext cx="10896000" cy="333651"/>
          </a:xfrm>
        </p:spPr>
        <p:txBody>
          <a:bodyPr/>
          <a:lstStyle>
            <a:lvl1pPr>
              <a:defRPr sz="1200">
                <a:solidFill>
                  <a:srgbClr val="3B97DE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0897200" cy="324000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 i="1">
                <a:solidFill>
                  <a:srgbClr val="001965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A7DD42-50DC-4727-B3D6-62052EA9E5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2" y="648002"/>
            <a:ext cx="10896001" cy="553999"/>
          </a:xfrm>
        </p:spPr>
        <p:txBody>
          <a:bodyPr>
            <a:spAutoFit/>
          </a:bodyPr>
          <a:lstStyle>
            <a:lvl1pPr marL="0" indent="0">
              <a:buNone/>
              <a:defRPr sz="3600" b="1" cap="all" baseline="0"/>
            </a:lvl1pPr>
          </a:lstStyle>
          <a:p>
            <a:pPr lvl="0"/>
            <a:r>
              <a:rPr lang="en-GB" dirty="0"/>
              <a:t>Click to add trumpet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80AE912-2EBF-401E-B611-2FAEC74319F3}"/>
              </a:ext>
            </a:extLst>
          </p:cNvPr>
          <p:cNvCxnSpPr>
            <a:cxnSpLocks/>
          </p:cNvCxnSpPr>
          <p:nvPr userDrawn="1"/>
        </p:nvCxnSpPr>
        <p:spPr>
          <a:xfrm>
            <a:off x="0" y="1660155"/>
            <a:ext cx="12192000" cy="0"/>
          </a:xfrm>
          <a:prstGeom prst="line">
            <a:avLst/>
          </a:prstGeom>
          <a:ln w="38100">
            <a:solidFill>
              <a:srgbClr val="E9EB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121826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7702"/>
            <a:ext cx="5286220" cy="1651119"/>
          </a:xfrm>
        </p:spPr>
        <p:txBody>
          <a:bodyPr anchor="t"/>
          <a:lstStyle>
            <a:lvl1pPr>
              <a:lnSpc>
                <a:spcPct val="100000"/>
              </a:lnSpc>
              <a:defRPr sz="3600" b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A06B890-E694-4CC8-A7C4-0101B94C346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2" y="2488125"/>
            <a:ext cx="5286375" cy="37136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232361E-9641-4D5F-B5F2-E5299AA8C5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57784" y="647701"/>
            <a:ext cx="5610217" cy="5886300"/>
          </a:xfrm>
          <a:solidFill>
            <a:srgbClr val="D8EAF8"/>
          </a:solidFill>
        </p:spPr>
        <p:txBody>
          <a:bodyPr/>
          <a:lstStyle>
            <a:lvl1pPr marL="0" indent="0">
              <a:buNone/>
              <a:defRPr sz="133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296DAD-0E66-436A-9C98-8412698CB71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578601" y="968517"/>
            <a:ext cx="4965401" cy="52414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2187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446DA1D-BCC5-FBE0-7869-31393B742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40DF230B-6988-45A3-ACB4-E0E205CAA5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0148E-80EA-4707-BC54-0BF4CCE74621}" type="datetimeFigureOut">
              <a:rPr lang="it-IT" smtClean="0"/>
              <a:t>29/01/2025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C770E23B-D55A-445C-C607-3589D46C06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3108C905-3CCC-B0E5-DD4D-63BF0AECA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535024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 flipV="1">
            <a:off x="2657463" y="2889873"/>
            <a:ext cx="6858000" cy="72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838200" y="2512710"/>
            <a:ext cx="10515600" cy="406663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8344C68-DFC3-451C-9A36-4B1B51D2AD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4248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, blue titl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48" y="548640"/>
            <a:ext cx="11430000" cy="457200"/>
          </a:xfrm>
          <a:prstGeom prst="rect">
            <a:avLst/>
          </a:prstGeom>
          <a:gradFill>
            <a:gsLst>
              <a:gs pos="15000">
                <a:schemeClr val="accent1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</a:gradFill>
        </p:spPr>
        <p:txBody>
          <a:bodyPr anchor="ctr" anchorCtr="0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F42128B-F057-4734-B9C3-5D01454A1E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7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40">
          <p15:clr>
            <a:srgbClr val="FBAE40"/>
          </p15:clr>
        </p15:guide>
        <p15:guide id="4" pos="240">
          <p15:clr>
            <a:srgbClr val="FBAE40"/>
          </p15:clr>
        </p15:guide>
        <p15:guide id="5" orient="horz" pos="3984">
          <p15:clr>
            <a:srgbClr val="FBAE40"/>
          </p15:clr>
        </p15:guide>
        <p15:guide id="6" orient="horz" pos="336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, clear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904" y="530352"/>
            <a:ext cx="11430000" cy="451304"/>
          </a:xfrm>
          <a:prstGeom prst="rect">
            <a:avLst/>
          </a:prstGeom>
        </p:spPr>
        <p:txBody>
          <a:bodyPr/>
          <a:lstStyle>
            <a:lvl1pPr>
              <a:defRPr sz="1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44F9B5D-514A-4FC8-A932-8D769E7942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736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40">
          <p15:clr>
            <a:srgbClr val="FBAE40"/>
          </p15:clr>
        </p15:guide>
        <p15:guide id="3" pos="7440">
          <p15:clr>
            <a:srgbClr val="FBAE40"/>
          </p15:clr>
        </p15:guide>
        <p15:guide id="4" orient="horz" pos="3984">
          <p15:clr>
            <a:srgbClr val="FBAE40"/>
          </p15:clr>
        </p15:guide>
        <p15:guide id="5" orient="horz" pos="33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al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904" y="530352"/>
            <a:ext cx="11430000" cy="451304"/>
          </a:xfrm>
          <a:prstGeom prst="rect">
            <a:avLst/>
          </a:prstGeom>
        </p:spPr>
        <p:txBody>
          <a:bodyPr/>
          <a:lstStyle>
            <a:lvl1pPr>
              <a:defRPr sz="18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D67B6E6-733A-4E6B-8A1D-795360F431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0122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40">
          <p15:clr>
            <a:srgbClr val="FBAE40"/>
          </p15:clr>
        </p15:guide>
        <p15:guide id="3" pos="7440">
          <p15:clr>
            <a:srgbClr val="FBAE40"/>
          </p15:clr>
        </p15:guide>
        <p15:guide id="4" orient="horz" pos="3984">
          <p15:clr>
            <a:srgbClr val="FBAE40"/>
          </p15:clr>
        </p15:guide>
        <p15:guide id="5" orient="horz" pos="336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 in Dev titl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49224"/>
            <a:ext cx="8549640" cy="451304"/>
          </a:xfrm>
          <a:prstGeom prst="rect">
            <a:avLst/>
          </a:prstGeom>
        </p:spPr>
        <p:txBody>
          <a:bodyPr/>
          <a:lstStyle>
            <a:lvl1pPr>
              <a:defRPr sz="1800" b="0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F3917CA-035C-4141-9794-E421F2F87E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638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40">
          <p15:clr>
            <a:srgbClr val="FBAE40"/>
          </p15:clr>
        </p15:guide>
        <p15:guide id="3" pos="7440">
          <p15:clr>
            <a:srgbClr val="FBAE40"/>
          </p15:clr>
        </p15:guide>
        <p15:guide id="4" orient="horz" pos="3984">
          <p15:clr>
            <a:srgbClr val="FBAE40"/>
          </p15:clr>
        </p15:guide>
        <p15:guide id="5" orient="horz" pos="336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text for left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8890551" y="533400"/>
            <a:ext cx="2916243" cy="579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  <a:lvl2pPr marL="0" indent="0">
              <a:buNone/>
              <a:defRPr sz="1200"/>
            </a:lvl2pPr>
            <a:lvl3pPr marL="228594">
              <a:defRPr sz="1100"/>
            </a:lvl3pPr>
            <a:lvl4pPr marL="1371566" indent="0">
              <a:buNone/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C2935E5-E670-4FD9-9795-6A25612914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897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7440">
          <p15:clr>
            <a:srgbClr val="FBAE40"/>
          </p15:clr>
        </p15:guide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40">
          <p15:clr>
            <a:srgbClr val="FBAE40"/>
          </p15:clr>
        </p15:guide>
        <p15:guide id="4" orient="horz" pos="3984">
          <p15:clr>
            <a:srgbClr val="FBAE40"/>
          </p15:clr>
        </p15:guide>
        <p15:guide id="5" orient="horz" pos="336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1000" y="533400"/>
            <a:ext cx="11430000" cy="579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  <a:lvl2pPr marL="0" indent="0">
              <a:buNone/>
              <a:defRPr sz="1200"/>
            </a:lvl2pPr>
            <a:lvl3pPr marL="228594">
              <a:defRPr sz="1100"/>
            </a:lvl3pPr>
            <a:lvl4pPr marL="1371566" indent="0">
              <a:buNone/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59973EB-E56A-48A1-BEA9-4A2EBE16DE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00327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hal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1000" y="533400"/>
            <a:ext cx="5715000" cy="579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  <a:lvl2pPr marL="0" indent="0">
              <a:buNone/>
              <a:defRPr sz="1200"/>
            </a:lvl2pPr>
            <a:lvl3pPr marL="228594">
              <a:defRPr sz="1100"/>
            </a:lvl3pPr>
            <a:lvl4pPr marL="1371566" indent="0">
              <a:buNone/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322BDF4-B1FE-4191-8CF9-7BE0A01FB5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6737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240">
          <p15:clr>
            <a:srgbClr val="FBAE40"/>
          </p15:clr>
        </p15:guide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40">
          <p15:clr>
            <a:srgbClr val="FBAE40"/>
          </p15:clr>
        </p15:guide>
        <p15:guide id="4" orient="horz" pos="3984">
          <p15:clr>
            <a:srgbClr val="FBAE40"/>
          </p15:clr>
        </p15:guide>
        <p15:guide id="5" orient="horz" pos="33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hal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090739" y="533400"/>
            <a:ext cx="5715000" cy="579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  <a:lvl2pPr marL="0" indent="0">
              <a:buNone/>
              <a:defRPr sz="1200"/>
            </a:lvl2pPr>
            <a:lvl3pPr marL="228594">
              <a:defRPr sz="1100"/>
            </a:lvl3pPr>
            <a:lvl4pPr marL="1371566" indent="0">
              <a:buNone/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937949A-A65B-4E0E-821A-7655E5E537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551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40">
          <p15:clr>
            <a:srgbClr val="FBAE40"/>
          </p15:clr>
        </p15:guide>
        <p15:guide id="4" pos="7440">
          <p15:clr>
            <a:srgbClr val="FBAE40"/>
          </p15:clr>
        </p15:guide>
        <p15:guide id="5" orient="horz" pos="3984">
          <p15:clr>
            <a:srgbClr val="FBAE40"/>
          </p15:clr>
        </p15:guide>
        <p15:guide id="6" orient="horz" pos="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: NAF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900" y="590385"/>
            <a:ext cx="11543593" cy="457200"/>
          </a:xfrm>
          <a:solidFill>
            <a:schemeClr val="accent1"/>
          </a:solidFill>
          <a:ln w="1270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2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01900" y="1068389"/>
            <a:ext cx="11542969" cy="511175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9FB41B-B155-484E-81C3-547FD91EE2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3758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4857E305-31A8-0C85-9795-3637498C4F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0148E-80EA-4707-BC54-0BF4CCE74621}" type="datetimeFigureOut">
              <a:rPr lang="it-IT" smtClean="0"/>
              <a:t>29/01/2025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2DAA64D5-42CB-5185-2DED-907685A554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C032C11-2D8B-F964-896C-A190EC7ABF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7961137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594B291F-A275-4553-823D-111A987F6C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57201"/>
            <a:ext cx="11430000" cy="350491"/>
          </a:xfrm>
          <a:prstGeom prst="rect">
            <a:avLst/>
          </a:prstGeom>
        </p:spPr>
        <p:txBody>
          <a:bodyPr anchor="ctr"/>
          <a:lstStyle>
            <a:lvl1pPr>
              <a:defRPr sz="1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8799D10-8286-49D6-9050-6BF29C77D6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2975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5277C09-E980-43CD-BD1E-D39BE13C1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8337" y="6524408"/>
            <a:ext cx="2844800" cy="265176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defRPr>
            </a:lvl1pPr>
          </a:lstStyle>
          <a:p>
            <a:fld id="{B8AFAFD2-8D6C-4B5A-91C6-D2ACD468F2B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1466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51371" y="6401379"/>
            <a:ext cx="10463548" cy="230716"/>
          </a:xfrm>
        </p:spPr>
        <p:txBody>
          <a:bodyPr lIns="54000" anchor="b">
            <a:noAutofit/>
          </a:bodyPr>
          <a:lstStyle>
            <a:lvl1pPr marL="0" indent="0">
              <a:spcBef>
                <a:spcPts val="0"/>
              </a:spcBef>
              <a:buNone/>
              <a:defRPr sz="1067">
                <a:solidFill>
                  <a:schemeClr val="accent3"/>
                </a:solidFill>
              </a:defRPr>
            </a:lvl1pPr>
            <a:lvl2pPr marL="353450" indent="0">
              <a:buNone/>
              <a:defRPr sz="1067"/>
            </a:lvl2pPr>
            <a:lvl3pPr marL="715361" indent="0">
              <a:buNone/>
              <a:defRPr sz="1067"/>
            </a:lvl3pPr>
            <a:lvl4pPr marL="1077277" indent="0">
              <a:buNone/>
              <a:defRPr sz="1067"/>
            </a:lvl4pPr>
            <a:lvl5pPr marL="1430723" indent="0">
              <a:buNone/>
              <a:defRPr sz="1067"/>
            </a:lvl5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1557099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145E7FE-6049-44E5-8568-90F4FF094B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GB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1D3BE035-44C4-42E8-9BA4-94D6F05E5C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19C5E72-B9D9-4820-94BC-CB2B911D9A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7CEA9A-DC36-4A46-B0BD-0E450E4E9642}" type="datetimeFigureOut">
              <a:rPr lang="en-GB" smtClean="0"/>
              <a:t>29/01/2025</a:t>
            </a:fld>
            <a:endParaRPr lang="en-GB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D7BB08E-875C-48DA-A382-69D10BCBCE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27C793E-AAC5-4C92-9083-CBB7A2126C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3DAC0-135E-4953-AB58-7F67BB610038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034837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422400" y="1209112"/>
            <a:ext cx="11347200" cy="26630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/>
          <a:lstStyle>
            <a:lvl1pPr marL="0" indent="0" algn="l">
              <a:buFontTx/>
              <a:buNone/>
              <a:defRPr sz="1867" baseline="0">
                <a:solidFill>
                  <a:srgbClr val="009FDA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>
                <a:solidFill>
                  <a:srgbClr val="82786F"/>
                </a:solidFill>
              </a:defRPr>
            </a:lvl1pPr>
          </a:lstStyle>
          <a:p>
            <a:pPr>
              <a:defRPr/>
            </a:pPr>
            <a:fld id="{10D2D36D-C2C4-4D0D-B0F1-A274C175CDEE}" type="slidenum">
              <a:rPr lang="en-GB" smtClean="0"/>
              <a:pPr>
                <a:defRPr/>
              </a:pPr>
              <a:t>‹N›</a:t>
            </a:fld>
            <a:endParaRPr lang="en-GB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 marL="0" indent="0">
              <a:buNone/>
              <a:defRPr>
                <a:solidFill>
                  <a:srgbClr val="82786F"/>
                </a:solidFill>
              </a:defRPr>
            </a:lvl1pPr>
          </a:lstStyle>
          <a:p>
            <a:r>
              <a:rPr lang="en-GB" dirty="0"/>
              <a:t>Marso </a:t>
            </a:r>
            <a:r>
              <a:rPr lang="en-GB" i="1" dirty="0"/>
              <a:t>et al. NEJM</a:t>
            </a:r>
            <a:r>
              <a:rPr lang="en-GB" dirty="0"/>
              <a:t> [in press]</a:t>
            </a:r>
            <a:endParaRPr lang="en-GB" i="1" dirty="0"/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>
                <a:solidFill>
                  <a:srgbClr val="82786F"/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424268" y="6440089"/>
            <a:ext cx="11345333" cy="181625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rgbClr val="82786F"/>
                </a:solidFill>
              </a:defRPr>
            </a:lvl1pPr>
            <a:lvl2pPr marL="353458" indent="0">
              <a:buNone/>
              <a:defRPr sz="1200"/>
            </a:lvl2pPr>
            <a:lvl3pPr marL="715379" indent="0">
              <a:buNone/>
              <a:defRPr sz="1200"/>
            </a:lvl3pPr>
            <a:lvl4pPr marL="1077304" indent="0">
              <a:buNone/>
              <a:defRPr sz="1200"/>
            </a:lvl4pPr>
            <a:lvl5pPr marL="1430759" indent="0"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014663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1962814"/>
            <a:ext cx="8652001" cy="1871629"/>
          </a:xfrm>
        </p:spPr>
        <p:txBody>
          <a:bodyPr tIns="91440" bIns="91440" anchor="b" anchorCtr="0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4000" y="324000"/>
            <a:ext cx="4488000" cy="324000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7CC7667B-71FE-473D-AE19-E08F2682BD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3" name="Tagline" descr="{&quot;templafy&quot;:{&quot;id&quot;:&quot;237cc8ce-a8bb-493a-8167-0dbb0fdc5d51&quot;}}" title="Form.PLogoChoice.PLogoInsertion">
            <a:extLst>
              <a:ext uri="{FF2B5EF4-FFF2-40B4-BE49-F238E27FC236}">
                <a16:creationId xmlns:a16="http://schemas.microsoft.com/office/drawing/2014/main" id="{8AE78219-5CBB-4760-B800-636AFE0A99A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err="1">
              <a:latin typeface="Apis For Office" panose="020B05040101010101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F71D66-8A8E-4C10-A476-314785641A0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1" y="3941233"/>
            <a:ext cx="8652001" cy="940659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 marL="269993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Date Placeholder 6">
            <a:extLst>
              <a:ext uri="{FF2B5EF4-FFF2-40B4-BE49-F238E27FC236}">
                <a16:creationId xmlns:a16="http://schemas.microsoft.com/office/drawing/2014/main" id="{AA4298F5-860C-4CD1-BA18-36787A8004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2000" y="324000"/>
            <a:ext cx="1920000" cy="125851"/>
          </a:xfrm>
        </p:spPr>
        <p:txBody>
          <a:bodyPr/>
          <a:lstStyle/>
          <a:p>
            <a:fld id="{3406E89B-F1B0-48A4-8827-107446FBFBCE}" type="datetime3">
              <a:rPr lang="en-US" smtClean="0"/>
              <a:t>29 January 2025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EA2B237-553D-4D16-B830-94B4CC58C9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7700" y="4974329"/>
            <a:ext cx="8652933" cy="690033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3"/>
                </a:solidFill>
              </a:defRPr>
            </a:lvl1pPr>
            <a:lvl2pPr marL="269993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47234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sem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0" name="Group 199">
            <a:extLst>
              <a:ext uri="{FF2B5EF4-FFF2-40B4-BE49-F238E27FC236}">
                <a16:creationId xmlns:a16="http://schemas.microsoft.com/office/drawing/2014/main" id="{205CDF6F-2ADC-48D6-AC02-A4CA37C721CF}"/>
              </a:ext>
            </a:extLst>
          </p:cNvPr>
          <p:cNvGrpSpPr/>
          <p:nvPr userDrawn="1"/>
        </p:nvGrpSpPr>
        <p:grpSpPr>
          <a:xfrm>
            <a:off x="-12697" y="-2481"/>
            <a:ext cx="12204697" cy="5603480"/>
            <a:chOff x="-9523" y="-1861"/>
            <a:chExt cx="9153523" cy="4202610"/>
          </a:xfrm>
        </p:grpSpPr>
        <p:pic>
          <p:nvPicPr>
            <p:cNvPr id="201" name="Picture 200">
              <a:extLst>
                <a:ext uri="{FF2B5EF4-FFF2-40B4-BE49-F238E27FC236}">
                  <a16:creationId xmlns:a16="http://schemas.microsoft.com/office/drawing/2014/main" id="{BE5A0D24-1E00-4A53-A361-E06BF4A5A27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9523" y="-1861"/>
              <a:ext cx="9153523" cy="4178075"/>
            </a:xfrm>
            <a:prstGeom prst="rect">
              <a:avLst/>
            </a:prstGeom>
          </p:spPr>
        </p:pic>
        <p:pic>
          <p:nvPicPr>
            <p:cNvPr id="202" name="Picture 201">
              <a:extLst>
                <a:ext uri="{FF2B5EF4-FFF2-40B4-BE49-F238E27FC236}">
                  <a16:creationId xmlns:a16="http://schemas.microsoft.com/office/drawing/2014/main" id="{C2B8021B-8BCD-4E2A-96B3-2DE01FFA0B8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98862" y="841628"/>
              <a:ext cx="2807879" cy="2320799"/>
            </a:xfrm>
            <a:prstGeom prst="rect">
              <a:avLst/>
            </a:prstGeom>
            <a:effectLst>
              <a:glow rad="228600">
                <a:srgbClr val="FFFFFF"/>
              </a:glow>
            </a:effectLst>
          </p:spPr>
        </p:pic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66E221BC-12BA-44DC-8968-67717CEDA60A}"/>
                </a:ext>
              </a:extLst>
            </p:cNvPr>
            <p:cNvGrpSpPr/>
            <p:nvPr userDrawn="1"/>
          </p:nvGrpSpPr>
          <p:grpSpPr>
            <a:xfrm>
              <a:off x="4519433" y="3221494"/>
              <a:ext cx="721220" cy="555175"/>
              <a:chOff x="5343975" y="4058097"/>
              <a:chExt cx="1102766" cy="848878"/>
            </a:xfrm>
            <a:solidFill>
              <a:srgbClr val="FFFFFF"/>
            </a:solidFill>
          </p:grpSpPr>
          <p:sp>
            <p:nvSpPr>
              <p:cNvPr id="358" name="Freeform 179">
                <a:extLst>
                  <a:ext uri="{FF2B5EF4-FFF2-40B4-BE49-F238E27FC236}">
                    <a16:creationId xmlns:a16="http://schemas.microsoft.com/office/drawing/2014/main" id="{0DD8BCE8-6D0C-4AA2-8CCE-B8848EF697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7429" y="4387570"/>
                <a:ext cx="56204" cy="13567"/>
              </a:xfrm>
              <a:custGeom>
                <a:avLst/>
                <a:gdLst>
                  <a:gd name="T0" fmla="*/ 19 w 19"/>
                  <a:gd name="T1" fmla="*/ 1 h 5"/>
                  <a:gd name="T2" fmla="*/ 9 w 19"/>
                  <a:gd name="T3" fmla="*/ 5 h 5"/>
                  <a:gd name="T4" fmla="*/ 4 w 19"/>
                  <a:gd name="T5" fmla="*/ 4 h 5"/>
                  <a:gd name="T6" fmla="*/ 0 w 19"/>
                  <a:gd name="T7" fmla="*/ 0 h 5"/>
                  <a:gd name="T8" fmla="*/ 5 w 19"/>
                  <a:gd name="T9" fmla="*/ 3 h 5"/>
                  <a:gd name="T10" fmla="*/ 10 w 19"/>
                  <a:gd name="T11" fmla="*/ 3 h 5"/>
                  <a:gd name="T12" fmla="*/ 19 w 19"/>
                  <a:gd name="T1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5">
                    <a:moveTo>
                      <a:pt x="19" y="1"/>
                    </a:moveTo>
                    <a:cubicBezTo>
                      <a:pt x="17" y="4"/>
                      <a:pt x="13" y="5"/>
                      <a:pt x="9" y="5"/>
                    </a:cubicBezTo>
                    <a:cubicBezTo>
                      <a:pt x="8" y="5"/>
                      <a:pt x="6" y="5"/>
                      <a:pt x="4" y="4"/>
                    </a:cubicBezTo>
                    <a:cubicBezTo>
                      <a:pt x="3" y="3"/>
                      <a:pt x="1" y="2"/>
                      <a:pt x="0" y="0"/>
                    </a:cubicBezTo>
                    <a:cubicBezTo>
                      <a:pt x="2" y="1"/>
                      <a:pt x="3" y="2"/>
                      <a:pt x="5" y="3"/>
                    </a:cubicBezTo>
                    <a:cubicBezTo>
                      <a:pt x="6" y="3"/>
                      <a:pt x="8" y="3"/>
                      <a:pt x="10" y="3"/>
                    </a:cubicBezTo>
                    <a:cubicBezTo>
                      <a:pt x="13" y="4"/>
                      <a:pt x="16" y="2"/>
                      <a:pt x="19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9" name="Freeform 180">
                <a:extLst>
                  <a:ext uri="{FF2B5EF4-FFF2-40B4-BE49-F238E27FC236}">
                    <a16:creationId xmlns:a16="http://schemas.microsoft.com/office/drawing/2014/main" id="{28563B2E-E192-467E-A5F0-C4E72EEE31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2463" y="4122054"/>
                <a:ext cx="255826" cy="261641"/>
              </a:xfrm>
              <a:custGeom>
                <a:avLst/>
                <a:gdLst>
                  <a:gd name="T0" fmla="*/ 36 w 88"/>
                  <a:gd name="T1" fmla="*/ 12 h 90"/>
                  <a:gd name="T2" fmla="*/ 6 w 88"/>
                  <a:gd name="T3" fmla="*/ 70 h 90"/>
                  <a:gd name="T4" fmla="*/ 30 w 88"/>
                  <a:gd name="T5" fmla="*/ 89 h 90"/>
                  <a:gd name="T6" fmla="*/ 23 w 88"/>
                  <a:gd name="T7" fmla="*/ 80 h 90"/>
                  <a:gd name="T8" fmla="*/ 27 w 88"/>
                  <a:gd name="T9" fmla="*/ 32 h 90"/>
                  <a:gd name="T10" fmla="*/ 66 w 88"/>
                  <a:gd name="T11" fmla="*/ 51 h 90"/>
                  <a:gd name="T12" fmla="*/ 55 w 88"/>
                  <a:gd name="T13" fmla="*/ 90 h 90"/>
                  <a:gd name="T14" fmla="*/ 80 w 88"/>
                  <a:gd name="T15" fmla="*/ 71 h 90"/>
                  <a:gd name="T16" fmla="*/ 36 w 88"/>
                  <a:gd name="T17" fmla="*/ 12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8" h="90">
                    <a:moveTo>
                      <a:pt x="36" y="12"/>
                    </a:moveTo>
                    <a:cubicBezTo>
                      <a:pt x="11" y="6"/>
                      <a:pt x="0" y="52"/>
                      <a:pt x="6" y="70"/>
                    </a:cubicBezTo>
                    <a:cubicBezTo>
                      <a:pt x="10" y="84"/>
                      <a:pt x="30" y="89"/>
                      <a:pt x="30" y="89"/>
                    </a:cubicBezTo>
                    <a:cubicBezTo>
                      <a:pt x="30" y="89"/>
                      <a:pt x="25" y="84"/>
                      <a:pt x="23" y="80"/>
                    </a:cubicBezTo>
                    <a:cubicBezTo>
                      <a:pt x="19" y="70"/>
                      <a:pt x="13" y="50"/>
                      <a:pt x="27" y="32"/>
                    </a:cubicBezTo>
                    <a:cubicBezTo>
                      <a:pt x="39" y="39"/>
                      <a:pt x="65" y="42"/>
                      <a:pt x="66" y="51"/>
                    </a:cubicBezTo>
                    <a:cubicBezTo>
                      <a:pt x="68" y="78"/>
                      <a:pt x="55" y="90"/>
                      <a:pt x="55" y="90"/>
                    </a:cubicBezTo>
                    <a:cubicBezTo>
                      <a:pt x="55" y="90"/>
                      <a:pt x="77" y="81"/>
                      <a:pt x="80" y="71"/>
                    </a:cubicBezTo>
                    <a:cubicBezTo>
                      <a:pt x="88" y="42"/>
                      <a:pt x="67" y="0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0" name="Freeform 181">
                <a:extLst>
                  <a:ext uri="{FF2B5EF4-FFF2-40B4-BE49-F238E27FC236}">
                    <a16:creationId xmlns:a16="http://schemas.microsoft.com/office/drawing/2014/main" id="{037E6DCF-651C-4E3A-86C1-0D06E8CA47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5720" y="4389508"/>
                <a:ext cx="60080" cy="106594"/>
              </a:xfrm>
              <a:custGeom>
                <a:avLst/>
                <a:gdLst>
                  <a:gd name="T0" fmla="*/ 12 w 31"/>
                  <a:gd name="T1" fmla="*/ 11 h 55"/>
                  <a:gd name="T2" fmla="*/ 27 w 31"/>
                  <a:gd name="T3" fmla="*/ 0 h 55"/>
                  <a:gd name="T4" fmla="*/ 31 w 31"/>
                  <a:gd name="T5" fmla="*/ 44 h 55"/>
                  <a:gd name="T6" fmla="*/ 0 w 31"/>
                  <a:gd name="T7" fmla="*/ 55 h 55"/>
                  <a:gd name="T8" fmla="*/ 12 w 31"/>
                  <a:gd name="T9" fmla="*/ 1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55">
                    <a:moveTo>
                      <a:pt x="12" y="11"/>
                    </a:moveTo>
                    <a:lnTo>
                      <a:pt x="27" y="0"/>
                    </a:lnTo>
                    <a:lnTo>
                      <a:pt x="31" y="44"/>
                    </a:lnTo>
                    <a:lnTo>
                      <a:pt x="0" y="55"/>
                    </a:lnTo>
                    <a:lnTo>
                      <a:pt x="1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1" name="Freeform 182">
                <a:extLst>
                  <a:ext uri="{FF2B5EF4-FFF2-40B4-BE49-F238E27FC236}">
                    <a16:creationId xmlns:a16="http://schemas.microsoft.com/office/drawing/2014/main" id="{7CE49889-797A-49DB-8C2B-71425B593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5033" y="4474784"/>
                <a:ext cx="9690" cy="15505"/>
              </a:xfrm>
              <a:custGeom>
                <a:avLst/>
                <a:gdLst>
                  <a:gd name="T0" fmla="*/ 1 w 3"/>
                  <a:gd name="T1" fmla="*/ 5 h 5"/>
                  <a:gd name="T2" fmla="*/ 3 w 3"/>
                  <a:gd name="T3" fmla="*/ 0 h 5"/>
                  <a:gd name="T4" fmla="*/ 0 w 3"/>
                  <a:gd name="T5" fmla="*/ 0 h 5"/>
                  <a:gd name="T6" fmla="*/ 1 w 3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1" y="5"/>
                    </a:moveTo>
                    <a:cubicBezTo>
                      <a:pt x="2" y="4"/>
                      <a:pt x="2" y="2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2" name="Freeform 183">
                <a:extLst>
                  <a:ext uri="{FF2B5EF4-FFF2-40B4-BE49-F238E27FC236}">
                    <a16:creationId xmlns:a16="http://schemas.microsoft.com/office/drawing/2014/main" id="{260B3637-984A-4EA3-A36E-6AF44ECF9E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9138" y="4389508"/>
                <a:ext cx="58142" cy="106594"/>
              </a:xfrm>
              <a:custGeom>
                <a:avLst/>
                <a:gdLst>
                  <a:gd name="T0" fmla="*/ 19 w 30"/>
                  <a:gd name="T1" fmla="*/ 11 h 55"/>
                  <a:gd name="T2" fmla="*/ 4 w 30"/>
                  <a:gd name="T3" fmla="*/ 0 h 55"/>
                  <a:gd name="T4" fmla="*/ 0 w 30"/>
                  <a:gd name="T5" fmla="*/ 44 h 55"/>
                  <a:gd name="T6" fmla="*/ 30 w 30"/>
                  <a:gd name="T7" fmla="*/ 55 h 55"/>
                  <a:gd name="T8" fmla="*/ 19 w 30"/>
                  <a:gd name="T9" fmla="*/ 1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55">
                    <a:moveTo>
                      <a:pt x="19" y="11"/>
                    </a:moveTo>
                    <a:lnTo>
                      <a:pt x="4" y="0"/>
                    </a:lnTo>
                    <a:lnTo>
                      <a:pt x="0" y="44"/>
                    </a:lnTo>
                    <a:lnTo>
                      <a:pt x="30" y="55"/>
                    </a:lnTo>
                    <a:lnTo>
                      <a:pt x="1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3" name="Freeform 184">
                <a:extLst>
                  <a:ext uri="{FF2B5EF4-FFF2-40B4-BE49-F238E27FC236}">
                    <a16:creationId xmlns:a16="http://schemas.microsoft.com/office/drawing/2014/main" id="{6DC13DBA-22BF-43B8-95D8-33E4BA2C59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509" y="4486412"/>
                <a:ext cx="75585" cy="162799"/>
              </a:xfrm>
              <a:custGeom>
                <a:avLst/>
                <a:gdLst>
                  <a:gd name="T0" fmla="*/ 5 w 26"/>
                  <a:gd name="T1" fmla="*/ 0 h 56"/>
                  <a:gd name="T2" fmla="*/ 0 w 26"/>
                  <a:gd name="T3" fmla="*/ 56 h 56"/>
                  <a:gd name="T4" fmla="*/ 13 w 26"/>
                  <a:gd name="T5" fmla="*/ 52 h 56"/>
                  <a:gd name="T6" fmla="*/ 26 w 26"/>
                  <a:gd name="T7" fmla="*/ 8 h 56"/>
                  <a:gd name="T8" fmla="*/ 5 w 26"/>
                  <a:gd name="T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56">
                    <a:moveTo>
                      <a:pt x="5" y="0"/>
                    </a:moveTo>
                    <a:cubicBezTo>
                      <a:pt x="0" y="56"/>
                      <a:pt x="0" y="56"/>
                      <a:pt x="0" y="56"/>
                    </a:cubicBezTo>
                    <a:cubicBezTo>
                      <a:pt x="4" y="55"/>
                      <a:pt x="9" y="54"/>
                      <a:pt x="13" y="52"/>
                    </a:cubicBezTo>
                    <a:cubicBezTo>
                      <a:pt x="16" y="38"/>
                      <a:pt x="21" y="21"/>
                      <a:pt x="26" y="8"/>
                    </a:cubicBez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4" name="Freeform 185">
                <a:extLst>
                  <a:ext uri="{FF2B5EF4-FFF2-40B4-BE49-F238E27FC236}">
                    <a16:creationId xmlns:a16="http://schemas.microsoft.com/office/drawing/2014/main" id="{46EC7B5F-AD38-4FF9-A502-E2EE5B9CB5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5961" y="4422456"/>
                <a:ext cx="100780" cy="209312"/>
              </a:xfrm>
              <a:custGeom>
                <a:avLst/>
                <a:gdLst>
                  <a:gd name="T0" fmla="*/ 34 w 34"/>
                  <a:gd name="T1" fmla="*/ 9 h 72"/>
                  <a:gd name="T2" fmla="*/ 5 w 34"/>
                  <a:gd name="T3" fmla="*/ 0 h 72"/>
                  <a:gd name="T4" fmla="*/ 9 w 34"/>
                  <a:gd name="T5" fmla="*/ 15 h 72"/>
                  <a:gd name="T6" fmla="*/ 19 w 34"/>
                  <a:gd name="T7" fmla="*/ 14 h 72"/>
                  <a:gd name="T8" fmla="*/ 12 w 34"/>
                  <a:gd name="T9" fmla="*/ 31 h 72"/>
                  <a:gd name="T10" fmla="*/ 0 w 34"/>
                  <a:gd name="T11" fmla="*/ 72 h 72"/>
                  <a:gd name="T12" fmla="*/ 34 w 34"/>
                  <a:gd name="T13" fmla="*/ 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72">
                    <a:moveTo>
                      <a:pt x="34" y="9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9" y="14"/>
                      <a:pt x="19" y="14"/>
                      <a:pt x="19" y="14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8" y="44"/>
                      <a:pt x="4" y="58"/>
                      <a:pt x="0" y="72"/>
                    </a:cubicBezTo>
                    <a:cubicBezTo>
                      <a:pt x="17" y="62"/>
                      <a:pt x="29" y="41"/>
                      <a:pt x="34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5" name="Freeform 186">
                <a:extLst>
                  <a:ext uri="{FF2B5EF4-FFF2-40B4-BE49-F238E27FC236}">
                    <a16:creationId xmlns:a16="http://schemas.microsoft.com/office/drawing/2014/main" id="{66AC351E-67AA-4241-BA8A-81B351847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1615" y="4478660"/>
                <a:ext cx="67833" cy="170551"/>
              </a:xfrm>
              <a:custGeom>
                <a:avLst/>
                <a:gdLst>
                  <a:gd name="T0" fmla="*/ 12 w 23"/>
                  <a:gd name="T1" fmla="*/ 11 h 59"/>
                  <a:gd name="T2" fmla="*/ 0 w 23"/>
                  <a:gd name="T3" fmla="*/ 0 h 59"/>
                  <a:gd name="T4" fmla="*/ 6 w 23"/>
                  <a:gd name="T5" fmla="*/ 59 h 59"/>
                  <a:gd name="T6" fmla="*/ 12 w 23"/>
                  <a:gd name="T7" fmla="*/ 59 h 59"/>
                  <a:gd name="T8" fmla="*/ 18 w 23"/>
                  <a:gd name="T9" fmla="*/ 59 h 59"/>
                  <a:gd name="T10" fmla="*/ 23 w 23"/>
                  <a:gd name="T11" fmla="*/ 0 h 59"/>
                  <a:gd name="T12" fmla="*/ 12 w 23"/>
                  <a:gd name="T1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59">
                    <a:moveTo>
                      <a:pt x="12" y="1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59"/>
                      <a:pt x="6" y="59"/>
                      <a:pt x="6" y="59"/>
                    </a:cubicBezTo>
                    <a:cubicBezTo>
                      <a:pt x="8" y="59"/>
                      <a:pt x="10" y="59"/>
                      <a:pt x="12" y="59"/>
                    </a:cubicBezTo>
                    <a:cubicBezTo>
                      <a:pt x="14" y="59"/>
                      <a:pt x="16" y="59"/>
                      <a:pt x="18" y="59"/>
                    </a:cubicBezTo>
                    <a:cubicBezTo>
                      <a:pt x="23" y="0"/>
                      <a:pt x="23" y="0"/>
                      <a:pt x="23" y="0"/>
                    </a:cubicBezTo>
                    <a:lnTo>
                      <a:pt x="1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6" name="Freeform 187">
                <a:extLst>
                  <a:ext uri="{FF2B5EF4-FFF2-40B4-BE49-F238E27FC236}">
                    <a16:creationId xmlns:a16="http://schemas.microsoft.com/office/drawing/2014/main" id="{07011B3A-9CAE-4C8F-836B-7976EC4275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1844" y="4486412"/>
                <a:ext cx="67833" cy="69771"/>
              </a:xfrm>
              <a:custGeom>
                <a:avLst/>
                <a:gdLst>
                  <a:gd name="T0" fmla="*/ 23 w 23"/>
                  <a:gd name="T1" fmla="*/ 24 h 24"/>
                  <a:gd name="T2" fmla="*/ 21 w 23"/>
                  <a:gd name="T3" fmla="*/ 0 h 24"/>
                  <a:gd name="T4" fmla="*/ 0 w 23"/>
                  <a:gd name="T5" fmla="*/ 8 h 24"/>
                  <a:gd name="T6" fmla="*/ 3 w 23"/>
                  <a:gd name="T7" fmla="*/ 17 h 24"/>
                  <a:gd name="T8" fmla="*/ 23 w 23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4">
                    <a:moveTo>
                      <a:pt x="23" y="24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11"/>
                      <a:pt x="2" y="14"/>
                      <a:pt x="3" y="17"/>
                    </a:cubicBezTo>
                    <a:lnTo>
                      <a:pt x="23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7" name="Freeform 188">
                <a:extLst>
                  <a:ext uri="{FF2B5EF4-FFF2-40B4-BE49-F238E27FC236}">
                    <a16:creationId xmlns:a16="http://schemas.microsoft.com/office/drawing/2014/main" id="{C48C343C-D0E8-4542-BF25-A60A55311E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6259" y="4422456"/>
                <a:ext cx="87214" cy="110470"/>
              </a:xfrm>
              <a:custGeom>
                <a:avLst/>
                <a:gdLst>
                  <a:gd name="T0" fmla="*/ 25 w 30"/>
                  <a:gd name="T1" fmla="*/ 38 h 38"/>
                  <a:gd name="T2" fmla="*/ 23 w 30"/>
                  <a:gd name="T3" fmla="*/ 31 h 38"/>
                  <a:gd name="T4" fmla="*/ 16 w 30"/>
                  <a:gd name="T5" fmla="*/ 14 h 38"/>
                  <a:gd name="T6" fmla="*/ 26 w 30"/>
                  <a:gd name="T7" fmla="*/ 15 h 38"/>
                  <a:gd name="T8" fmla="*/ 30 w 30"/>
                  <a:gd name="T9" fmla="*/ 0 h 38"/>
                  <a:gd name="T10" fmla="*/ 0 w 30"/>
                  <a:gd name="T11" fmla="*/ 9 h 38"/>
                  <a:gd name="T12" fmla="*/ 6 w 30"/>
                  <a:gd name="T13" fmla="*/ 32 h 38"/>
                  <a:gd name="T14" fmla="*/ 25 w 30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8">
                    <a:moveTo>
                      <a:pt x="25" y="38"/>
                    </a:moveTo>
                    <a:cubicBezTo>
                      <a:pt x="24" y="35"/>
                      <a:pt x="23" y="33"/>
                      <a:pt x="23" y="31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26" y="15"/>
                      <a:pt x="26" y="15"/>
                      <a:pt x="26" y="15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2" y="17"/>
                      <a:pt x="4" y="25"/>
                      <a:pt x="6" y="32"/>
                    </a:cubicBezTo>
                    <a:lnTo>
                      <a:pt x="25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8" name="Freeform 189">
                <a:extLst>
                  <a:ext uri="{FF2B5EF4-FFF2-40B4-BE49-F238E27FC236}">
                    <a16:creationId xmlns:a16="http://schemas.microsoft.com/office/drawing/2014/main" id="{3B3A52E4-ABAB-421E-A786-2BE375DE5C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3862" y="4602697"/>
                <a:ext cx="13567" cy="46514"/>
              </a:xfrm>
              <a:custGeom>
                <a:avLst/>
                <a:gdLst>
                  <a:gd name="T0" fmla="*/ 0 w 5"/>
                  <a:gd name="T1" fmla="*/ 15 h 16"/>
                  <a:gd name="T2" fmla="*/ 5 w 5"/>
                  <a:gd name="T3" fmla="*/ 16 h 16"/>
                  <a:gd name="T4" fmla="*/ 3 w 5"/>
                  <a:gd name="T5" fmla="*/ 0 h 16"/>
                  <a:gd name="T6" fmla="*/ 0 w 5"/>
                  <a:gd name="T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6">
                    <a:moveTo>
                      <a:pt x="0" y="15"/>
                    </a:moveTo>
                    <a:cubicBezTo>
                      <a:pt x="2" y="15"/>
                      <a:pt x="3" y="15"/>
                      <a:pt x="5" y="16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5"/>
                      <a:pt x="2" y="10"/>
                      <a:pt x="0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69" name="Freeform 190">
                <a:extLst>
                  <a:ext uri="{FF2B5EF4-FFF2-40B4-BE49-F238E27FC236}">
                    <a16:creationId xmlns:a16="http://schemas.microsoft.com/office/drawing/2014/main" id="{413CAB41-D788-424C-9E7A-53B2DB8600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0215" y="4474784"/>
                <a:ext cx="9690" cy="15505"/>
              </a:xfrm>
              <a:custGeom>
                <a:avLst/>
                <a:gdLst>
                  <a:gd name="T0" fmla="*/ 3 w 3"/>
                  <a:gd name="T1" fmla="*/ 0 h 5"/>
                  <a:gd name="T2" fmla="*/ 0 w 3"/>
                  <a:gd name="T3" fmla="*/ 0 h 5"/>
                  <a:gd name="T4" fmla="*/ 2 w 3"/>
                  <a:gd name="T5" fmla="*/ 5 h 5"/>
                  <a:gd name="T6" fmla="*/ 3 w 3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1" y="3"/>
                      <a:pt x="2" y="5"/>
                    </a:cubicBez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0" name="Freeform 191">
                <a:extLst>
                  <a:ext uri="{FF2B5EF4-FFF2-40B4-BE49-F238E27FC236}">
                    <a16:creationId xmlns:a16="http://schemas.microsoft.com/office/drawing/2014/main" id="{3C20290A-83EF-44AC-9356-BB2D1A3F16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975" y="4412765"/>
                <a:ext cx="137604" cy="228693"/>
              </a:xfrm>
              <a:custGeom>
                <a:avLst/>
                <a:gdLst>
                  <a:gd name="T0" fmla="*/ 26 w 47"/>
                  <a:gd name="T1" fmla="*/ 15 h 78"/>
                  <a:gd name="T2" fmla="*/ 22 w 47"/>
                  <a:gd name="T3" fmla="*/ 14 h 78"/>
                  <a:gd name="T4" fmla="*/ 34 w 47"/>
                  <a:gd name="T5" fmla="*/ 0 h 78"/>
                  <a:gd name="T6" fmla="*/ 0 w 47"/>
                  <a:gd name="T7" fmla="*/ 12 h 78"/>
                  <a:gd name="T8" fmla="*/ 47 w 47"/>
                  <a:gd name="T9" fmla="*/ 78 h 78"/>
                  <a:gd name="T10" fmla="*/ 20 w 47"/>
                  <a:gd name="T11" fmla="*/ 18 h 78"/>
                  <a:gd name="T12" fmla="*/ 26 w 47"/>
                  <a:gd name="T13" fmla="*/ 15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78">
                    <a:moveTo>
                      <a:pt x="26" y="15"/>
                    </a:moveTo>
                    <a:cubicBezTo>
                      <a:pt x="22" y="14"/>
                      <a:pt x="22" y="14"/>
                      <a:pt x="22" y="14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4" y="53"/>
                      <a:pt x="29" y="71"/>
                      <a:pt x="47" y="78"/>
                    </a:cubicBezTo>
                    <a:cubicBezTo>
                      <a:pt x="20" y="18"/>
                      <a:pt x="20" y="18"/>
                      <a:pt x="20" y="18"/>
                    </a:cubicBezTo>
                    <a:lnTo>
                      <a:pt x="2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1" name="Freeform 192">
                <a:extLst>
                  <a:ext uri="{FF2B5EF4-FFF2-40B4-BE49-F238E27FC236}">
                    <a16:creationId xmlns:a16="http://schemas.microsoft.com/office/drawing/2014/main" id="{B79A57E3-2AFC-4AA1-A133-DD2C03BCD9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9721" y="4381756"/>
                <a:ext cx="63957" cy="91090"/>
              </a:xfrm>
              <a:custGeom>
                <a:avLst/>
                <a:gdLst>
                  <a:gd name="T0" fmla="*/ 0 w 22"/>
                  <a:gd name="T1" fmla="*/ 18 h 31"/>
                  <a:gd name="T2" fmla="*/ 18 w 22"/>
                  <a:gd name="T3" fmla="*/ 0 h 31"/>
                  <a:gd name="T4" fmla="*/ 19 w 22"/>
                  <a:gd name="T5" fmla="*/ 31 h 31"/>
                  <a:gd name="T6" fmla="*/ 0 w 22"/>
                  <a:gd name="T7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31">
                    <a:moveTo>
                      <a:pt x="0" y="18"/>
                    </a:moveTo>
                    <a:cubicBezTo>
                      <a:pt x="0" y="18"/>
                      <a:pt x="17" y="7"/>
                      <a:pt x="18" y="0"/>
                    </a:cubicBezTo>
                    <a:cubicBezTo>
                      <a:pt x="22" y="11"/>
                      <a:pt x="20" y="25"/>
                      <a:pt x="19" y="31"/>
                    </a:cubicBezTo>
                    <a:cubicBezTo>
                      <a:pt x="14" y="19"/>
                      <a:pt x="1" y="18"/>
                      <a:pt x="0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2" name="Freeform 193">
                <a:extLst>
                  <a:ext uri="{FF2B5EF4-FFF2-40B4-BE49-F238E27FC236}">
                    <a16:creationId xmlns:a16="http://schemas.microsoft.com/office/drawing/2014/main" id="{DE819656-3E6A-4E0F-B665-562DA731C2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950" y="4381756"/>
                <a:ext cx="67833" cy="91090"/>
              </a:xfrm>
              <a:custGeom>
                <a:avLst/>
                <a:gdLst>
                  <a:gd name="T0" fmla="*/ 23 w 23"/>
                  <a:gd name="T1" fmla="*/ 18 h 31"/>
                  <a:gd name="T2" fmla="*/ 5 w 23"/>
                  <a:gd name="T3" fmla="*/ 0 h 31"/>
                  <a:gd name="T4" fmla="*/ 4 w 23"/>
                  <a:gd name="T5" fmla="*/ 31 h 31"/>
                  <a:gd name="T6" fmla="*/ 23 w 23"/>
                  <a:gd name="T7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31">
                    <a:moveTo>
                      <a:pt x="23" y="18"/>
                    </a:moveTo>
                    <a:cubicBezTo>
                      <a:pt x="23" y="18"/>
                      <a:pt x="6" y="7"/>
                      <a:pt x="5" y="0"/>
                    </a:cubicBezTo>
                    <a:cubicBezTo>
                      <a:pt x="0" y="11"/>
                      <a:pt x="2" y="25"/>
                      <a:pt x="4" y="31"/>
                    </a:cubicBezTo>
                    <a:cubicBezTo>
                      <a:pt x="9" y="19"/>
                      <a:pt x="22" y="18"/>
                      <a:pt x="23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3" name="Freeform 194">
                <a:extLst>
                  <a:ext uri="{FF2B5EF4-FFF2-40B4-BE49-F238E27FC236}">
                    <a16:creationId xmlns:a16="http://schemas.microsoft.com/office/drawing/2014/main" id="{E0D08782-5006-41D5-BC1B-BD0168DCED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4526" y="4441836"/>
                <a:ext cx="48452" cy="147294"/>
              </a:xfrm>
              <a:custGeom>
                <a:avLst/>
                <a:gdLst>
                  <a:gd name="T0" fmla="*/ 4 w 17"/>
                  <a:gd name="T1" fmla="*/ 8 h 50"/>
                  <a:gd name="T2" fmla="*/ 1 w 17"/>
                  <a:gd name="T3" fmla="*/ 17 h 50"/>
                  <a:gd name="T4" fmla="*/ 8 w 17"/>
                  <a:gd name="T5" fmla="*/ 50 h 50"/>
                  <a:gd name="T6" fmla="*/ 16 w 17"/>
                  <a:gd name="T7" fmla="*/ 16 h 50"/>
                  <a:gd name="T8" fmla="*/ 13 w 17"/>
                  <a:gd name="T9" fmla="*/ 8 h 50"/>
                  <a:gd name="T10" fmla="*/ 13 w 17"/>
                  <a:gd name="T11" fmla="*/ 8 h 50"/>
                  <a:gd name="T12" fmla="*/ 17 w 17"/>
                  <a:gd name="T13" fmla="*/ 3 h 50"/>
                  <a:gd name="T14" fmla="*/ 9 w 17"/>
                  <a:gd name="T15" fmla="*/ 0 h 50"/>
                  <a:gd name="T16" fmla="*/ 8 w 17"/>
                  <a:gd name="T17" fmla="*/ 0 h 50"/>
                  <a:gd name="T18" fmla="*/ 0 w 17"/>
                  <a:gd name="T19" fmla="*/ 3 h 50"/>
                  <a:gd name="T20" fmla="*/ 4 w 17"/>
                  <a:gd name="T21" fmla="*/ 8 h 50"/>
                  <a:gd name="T22" fmla="*/ 4 w 17"/>
                  <a:gd name="T23" fmla="*/ 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50">
                    <a:moveTo>
                      <a:pt x="4" y="8"/>
                    </a:moveTo>
                    <a:cubicBezTo>
                      <a:pt x="2" y="11"/>
                      <a:pt x="1" y="14"/>
                      <a:pt x="1" y="17"/>
                    </a:cubicBezTo>
                    <a:cubicBezTo>
                      <a:pt x="8" y="50"/>
                      <a:pt x="8" y="50"/>
                      <a:pt x="8" y="50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5" y="13"/>
                      <a:pt x="14" y="11"/>
                      <a:pt x="13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5" y="6"/>
                      <a:pt x="16" y="4"/>
                      <a:pt x="17" y="3"/>
                    </a:cubicBezTo>
                    <a:cubicBezTo>
                      <a:pt x="13" y="1"/>
                      <a:pt x="10" y="0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4" y="1"/>
                      <a:pt x="0" y="3"/>
                    </a:cubicBezTo>
                    <a:cubicBezTo>
                      <a:pt x="1" y="4"/>
                      <a:pt x="2" y="6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4" name="Freeform 195">
                <a:extLst>
                  <a:ext uri="{FF2B5EF4-FFF2-40B4-BE49-F238E27FC236}">
                    <a16:creationId xmlns:a16="http://schemas.microsoft.com/office/drawing/2014/main" id="{275CF134-8F74-4F96-98AF-139509FA2A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1188" y="4141434"/>
                <a:ext cx="199622" cy="164737"/>
              </a:xfrm>
              <a:custGeom>
                <a:avLst/>
                <a:gdLst>
                  <a:gd name="T0" fmla="*/ 42 w 68"/>
                  <a:gd name="T1" fmla="*/ 0 h 56"/>
                  <a:gd name="T2" fmla="*/ 4 w 68"/>
                  <a:gd name="T3" fmla="*/ 35 h 56"/>
                  <a:gd name="T4" fmla="*/ 11 w 68"/>
                  <a:gd name="T5" fmla="*/ 56 h 56"/>
                  <a:gd name="T6" fmla="*/ 10 w 68"/>
                  <a:gd name="T7" fmla="*/ 42 h 56"/>
                  <a:gd name="T8" fmla="*/ 18 w 68"/>
                  <a:gd name="T9" fmla="*/ 28 h 56"/>
                  <a:gd name="T10" fmla="*/ 36 w 68"/>
                  <a:gd name="T11" fmla="*/ 31 h 56"/>
                  <a:gd name="T12" fmla="*/ 53 w 68"/>
                  <a:gd name="T13" fmla="*/ 28 h 56"/>
                  <a:gd name="T14" fmla="*/ 61 w 68"/>
                  <a:gd name="T15" fmla="*/ 41 h 56"/>
                  <a:gd name="T16" fmla="*/ 60 w 68"/>
                  <a:gd name="T17" fmla="*/ 56 h 56"/>
                  <a:gd name="T18" fmla="*/ 66 w 68"/>
                  <a:gd name="T19" fmla="*/ 37 h 56"/>
                  <a:gd name="T20" fmla="*/ 42 w 68"/>
                  <a:gd name="T21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8" h="56">
                    <a:moveTo>
                      <a:pt x="42" y="0"/>
                    </a:moveTo>
                    <a:cubicBezTo>
                      <a:pt x="31" y="7"/>
                      <a:pt x="0" y="1"/>
                      <a:pt x="4" y="35"/>
                    </a:cubicBezTo>
                    <a:cubicBezTo>
                      <a:pt x="5" y="42"/>
                      <a:pt x="8" y="50"/>
                      <a:pt x="11" y="56"/>
                    </a:cubicBezTo>
                    <a:cubicBezTo>
                      <a:pt x="11" y="51"/>
                      <a:pt x="10" y="47"/>
                      <a:pt x="10" y="42"/>
                    </a:cubicBezTo>
                    <a:cubicBezTo>
                      <a:pt x="11" y="35"/>
                      <a:pt x="15" y="29"/>
                      <a:pt x="18" y="28"/>
                    </a:cubicBezTo>
                    <a:cubicBezTo>
                      <a:pt x="22" y="28"/>
                      <a:pt x="27" y="31"/>
                      <a:pt x="36" y="31"/>
                    </a:cubicBezTo>
                    <a:cubicBezTo>
                      <a:pt x="44" y="31"/>
                      <a:pt x="49" y="28"/>
                      <a:pt x="53" y="28"/>
                    </a:cubicBezTo>
                    <a:cubicBezTo>
                      <a:pt x="57" y="29"/>
                      <a:pt x="60" y="35"/>
                      <a:pt x="61" y="41"/>
                    </a:cubicBezTo>
                    <a:cubicBezTo>
                      <a:pt x="61" y="46"/>
                      <a:pt x="60" y="51"/>
                      <a:pt x="60" y="56"/>
                    </a:cubicBezTo>
                    <a:cubicBezTo>
                      <a:pt x="63" y="51"/>
                      <a:pt x="65" y="45"/>
                      <a:pt x="66" y="37"/>
                    </a:cubicBezTo>
                    <a:cubicBezTo>
                      <a:pt x="68" y="26"/>
                      <a:pt x="67" y="7"/>
                      <a:pt x="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5" name="Freeform 196">
                <a:extLst>
                  <a:ext uri="{FF2B5EF4-FFF2-40B4-BE49-F238E27FC236}">
                    <a16:creationId xmlns:a16="http://schemas.microsoft.com/office/drawing/2014/main" id="{147B8036-0219-49D1-9D2B-796ABFC673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6383" y="4308109"/>
                <a:ext cx="162799" cy="85275"/>
              </a:xfrm>
              <a:custGeom>
                <a:avLst/>
                <a:gdLst>
                  <a:gd name="T0" fmla="*/ 55 w 56"/>
                  <a:gd name="T1" fmla="*/ 1 h 29"/>
                  <a:gd name="T2" fmla="*/ 52 w 56"/>
                  <a:gd name="T3" fmla="*/ 3 h 29"/>
                  <a:gd name="T4" fmla="*/ 50 w 56"/>
                  <a:gd name="T5" fmla="*/ 3 h 29"/>
                  <a:gd name="T6" fmla="*/ 50 w 56"/>
                  <a:gd name="T7" fmla="*/ 3 h 29"/>
                  <a:gd name="T8" fmla="*/ 50 w 56"/>
                  <a:gd name="T9" fmla="*/ 3 h 29"/>
                  <a:gd name="T10" fmla="*/ 50 w 56"/>
                  <a:gd name="T11" fmla="*/ 2 h 29"/>
                  <a:gd name="T12" fmla="*/ 48 w 56"/>
                  <a:gd name="T13" fmla="*/ 12 h 29"/>
                  <a:gd name="T14" fmla="*/ 40 w 56"/>
                  <a:gd name="T15" fmla="*/ 23 h 29"/>
                  <a:gd name="T16" fmla="*/ 28 w 56"/>
                  <a:gd name="T17" fmla="*/ 28 h 29"/>
                  <a:gd name="T18" fmla="*/ 15 w 56"/>
                  <a:gd name="T19" fmla="*/ 23 h 29"/>
                  <a:gd name="T20" fmla="*/ 8 w 56"/>
                  <a:gd name="T21" fmla="*/ 12 h 29"/>
                  <a:gd name="T22" fmla="*/ 5 w 56"/>
                  <a:gd name="T23" fmla="*/ 3 h 29"/>
                  <a:gd name="T24" fmla="*/ 5 w 56"/>
                  <a:gd name="T25" fmla="*/ 3 h 29"/>
                  <a:gd name="T26" fmla="*/ 5 w 56"/>
                  <a:gd name="T27" fmla="*/ 3 h 29"/>
                  <a:gd name="T28" fmla="*/ 5 w 56"/>
                  <a:gd name="T29" fmla="*/ 3 h 29"/>
                  <a:gd name="T30" fmla="*/ 5 w 56"/>
                  <a:gd name="T31" fmla="*/ 3 h 29"/>
                  <a:gd name="T32" fmla="*/ 3 w 56"/>
                  <a:gd name="T33" fmla="*/ 3 h 29"/>
                  <a:gd name="T34" fmla="*/ 3 w 56"/>
                  <a:gd name="T35" fmla="*/ 3 h 29"/>
                  <a:gd name="T36" fmla="*/ 3 w 56"/>
                  <a:gd name="T37" fmla="*/ 3 h 29"/>
                  <a:gd name="T38" fmla="*/ 0 w 56"/>
                  <a:gd name="T39" fmla="*/ 1 h 29"/>
                  <a:gd name="T40" fmla="*/ 0 w 56"/>
                  <a:gd name="T41" fmla="*/ 1 h 29"/>
                  <a:gd name="T42" fmla="*/ 0 w 56"/>
                  <a:gd name="T43" fmla="*/ 3 h 29"/>
                  <a:gd name="T44" fmla="*/ 4 w 56"/>
                  <a:gd name="T45" fmla="*/ 6 h 29"/>
                  <a:gd name="T46" fmla="*/ 6 w 56"/>
                  <a:gd name="T47" fmla="*/ 13 h 29"/>
                  <a:gd name="T48" fmla="*/ 14 w 56"/>
                  <a:gd name="T49" fmla="*/ 25 h 29"/>
                  <a:gd name="T50" fmla="*/ 28 w 56"/>
                  <a:gd name="T51" fmla="*/ 29 h 29"/>
                  <a:gd name="T52" fmla="*/ 41 w 56"/>
                  <a:gd name="T53" fmla="*/ 24 h 29"/>
                  <a:gd name="T54" fmla="*/ 49 w 56"/>
                  <a:gd name="T55" fmla="*/ 12 h 29"/>
                  <a:gd name="T56" fmla="*/ 51 w 56"/>
                  <a:gd name="T57" fmla="*/ 6 h 29"/>
                  <a:gd name="T58" fmla="*/ 55 w 56"/>
                  <a:gd name="T59" fmla="*/ 3 h 29"/>
                  <a:gd name="T60" fmla="*/ 56 w 56"/>
                  <a:gd name="T61" fmla="*/ 0 h 29"/>
                  <a:gd name="T62" fmla="*/ 55 w 56"/>
                  <a:gd name="T63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6" h="29">
                    <a:moveTo>
                      <a:pt x="55" y="1"/>
                    </a:moveTo>
                    <a:cubicBezTo>
                      <a:pt x="54" y="2"/>
                      <a:pt x="53" y="3"/>
                      <a:pt x="52" y="3"/>
                    </a:cubicBezTo>
                    <a:cubicBezTo>
                      <a:pt x="51" y="3"/>
                      <a:pt x="51" y="3"/>
                      <a:pt x="50" y="3"/>
                    </a:cubicBezTo>
                    <a:cubicBezTo>
                      <a:pt x="50" y="3"/>
                      <a:pt x="50" y="3"/>
                      <a:pt x="50" y="3"/>
                    </a:cubicBezTo>
                    <a:cubicBezTo>
                      <a:pt x="50" y="3"/>
                      <a:pt x="50" y="3"/>
                      <a:pt x="50" y="3"/>
                    </a:cubicBezTo>
                    <a:cubicBezTo>
                      <a:pt x="50" y="3"/>
                      <a:pt x="50" y="2"/>
                      <a:pt x="50" y="2"/>
                    </a:cubicBezTo>
                    <a:cubicBezTo>
                      <a:pt x="49" y="6"/>
                      <a:pt x="49" y="9"/>
                      <a:pt x="48" y="12"/>
                    </a:cubicBezTo>
                    <a:cubicBezTo>
                      <a:pt x="46" y="16"/>
                      <a:pt x="44" y="20"/>
                      <a:pt x="40" y="23"/>
                    </a:cubicBezTo>
                    <a:cubicBezTo>
                      <a:pt x="37" y="26"/>
                      <a:pt x="32" y="28"/>
                      <a:pt x="28" y="28"/>
                    </a:cubicBezTo>
                    <a:cubicBezTo>
                      <a:pt x="23" y="28"/>
                      <a:pt x="19" y="26"/>
                      <a:pt x="15" y="23"/>
                    </a:cubicBezTo>
                    <a:cubicBezTo>
                      <a:pt x="12" y="21"/>
                      <a:pt x="10" y="16"/>
                      <a:pt x="8" y="12"/>
                    </a:cubicBezTo>
                    <a:cubicBezTo>
                      <a:pt x="7" y="9"/>
                      <a:pt x="6" y="6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1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6"/>
                      <a:pt x="2" y="6"/>
                      <a:pt x="4" y="6"/>
                    </a:cubicBezTo>
                    <a:cubicBezTo>
                      <a:pt x="4" y="8"/>
                      <a:pt x="5" y="11"/>
                      <a:pt x="6" y="13"/>
                    </a:cubicBezTo>
                    <a:cubicBezTo>
                      <a:pt x="8" y="17"/>
                      <a:pt x="10" y="22"/>
                      <a:pt x="14" y="25"/>
                    </a:cubicBezTo>
                    <a:cubicBezTo>
                      <a:pt x="18" y="28"/>
                      <a:pt x="23" y="29"/>
                      <a:pt x="28" y="29"/>
                    </a:cubicBezTo>
                    <a:cubicBezTo>
                      <a:pt x="33" y="29"/>
                      <a:pt x="38" y="28"/>
                      <a:pt x="41" y="24"/>
                    </a:cubicBezTo>
                    <a:cubicBezTo>
                      <a:pt x="45" y="21"/>
                      <a:pt x="48" y="17"/>
                      <a:pt x="49" y="12"/>
                    </a:cubicBezTo>
                    <a:cubicBezTo>
                      <a:pt x="50" y="10"/>
                      <a:pt x="51" y="8"/>
                      <a:pt x="51" y="6"/>
                    </a:cubicBezTo>
                    <a:cubicBezTo>
                      <a:pt x="53" y="6"/>
                      <a:pt x="55" y="6"/>
                      <a:pt x="55" y="3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5" y="0"/>
                      <a:pt x="55" y="1"/>
                      <a:pt x="5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6" name="Freeform 197">
                <a:extLst>
                  <a:ext uri="{FF2B5EF4-FFF2-40B4-BE49-F238E27FC236}">
                    <a16:creationId xmlns:a16="http://schemas.microsoft.com/office/drawing/2014/main" id="{19C65CA1-779C-4783-9DA8-B5DD27F26E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746" y="4401137"/>
                <a:ext cx="250012" cy="248074"/>
              </a:xfrm>
              <a:custGeom>
                <a:avLst/>
                <a:gdLst>
                  <a:gd name="T0" fmla="*/ 55 w 85"/>
                  <a:gd name="T1" fmla="*/ 60 h 85"/>
                  <a:gd name="T2" fmla="*/ 55 w 85"/>
                  <a:gd name="T3" fmla="*/ 55 h 85"/>
                  <a:gd name="T4" fmla="*/ 72 w 85"/>
                  <a:gd name="T5" fmla="*/ 49 h 85"/>
                  <a:gd name="T6" fmla="*/ 85 w 85"/>
                  <a:gd name="T7" fmla="*/ 24 h 85"/>
                  <a:gd name="T8" fmla="*/ 73 w 85"/>
                  <a:gd name="T9" fmla="*/ 19 h 85"/>
                  <a:gd name="T10" fmla="*/ 80 w 85"/>
                  <a:gd name="T11" fmla="*/ 17 h 85"/>
                  <a:gd name="T12" fmla="*/ 66 w 85"/>
                  <a:gd name="T13" fmla="*/ 1 h 85"/>
                  <a:gd name="T14" fmla="*/ 65 w 85"/>
                  <a:gd name="T15" fmla="*/ 25 h 85"/>
                  <a:gd name="T16" fmla="*/ 63 w 85"/>
                  <a:gd name="T17" fmla="*/ 34 h 85"/>
                  <a:gd name="T18" fmla="*/ 59 w 85"/>
                  <a:gd name="T19" fmla="*/ 25 h 85"/>
                  <a:gd name="T20" fmla="*/ 56 w 85"/>
                  <a:gd name="T21" fmla="*/ 20 h 85"/>
                  <a:gd name="T22" fmla="*/ 42 w 85"/>
                  <a:gd name="T23" fmla="*/ 80 h 85"/>
                  <a:gd name="T24" fmla="*/ 29 w 85"/>
                  <a:gd name="T25" fmla="*/ 21 h 85"/>
                  <a:gd name="T26" fmla="*/ 26 w 85"/>
                  <a:gd name="T27" fmla="*/ 25 h 85"/>
                  <a:gd name="T28" fmla="*/ 22 w 85"/>
                  <a:gd name="T29" fmla="*/ 34 h 85"/>
                  <a:gd name="T30" fmla="*/ 19 w 85"/>
                  <a:gd name="T31" fmla="*/ 25 h 85"/>
                  <a:gd name="T32" fmla="*/ 19 w 85"/>
                  <a:gd name="T33" fmla="*/ 0 h 85"/>
                  <a:gd name="T34" fmla="*/ 5 w 85"/>
                  <a:gd name="T35" fmla="*/ 16 h 85"/>
                  <a:gd name="T36" fmla="*/ 12 w 85"/>
                  <a:gd name="T37" fmla="*/ 18 h 85"/>
                  <a:gd name="T38" fmla="*/ 0 w 85"/>
                  <a:gd name="T39" fmla="*/ 23 h 85"/>
                  <a:gd name="T40" fmla="*/ 28 w 85"/>
                  <a:gd name="T41" fmla="*/ 83 h 85"/>
                  <a:gd name="T42" fmla="*/ 41 w 85"/>
                  <a:gd name="T43" fmla="*/ 85 h 85"/>
                  <a:gd name="T44" fmla="*/ 56 w 85"/>
                  <a:gd name="T45" fmla="*/ 83 h 85"/>
                  <a:gd name="T46" fmla="*/ 58 w 85"/>
                  <a:gd name="T47" fmla="*/ 78 h 85"/>
                  <a:gd name="T48" fmla="*/ 55 w 85"/>
                  <a:gd name="T49" fmla="*/ 6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5" h="85">
                    <a:moveTo>
                      <a:pt x="55" y="60"/>
                    </a:moveTo>
                    <a:cubicBezTo>
                      <a:pt x="55" y="55"/>
                      <a:pt x="55" y="55"/>
                      <a:pt x="55" y="55"/>
                    </a:cubicBezTo>
                    <a:cubicBezTo>
                      <a:pt x="72" y="49"/>
                      <a:pt x="72" y="49"/>
                      <a:pt x="72" y="49"/>
                    </a:cubicBezTo>
                    <a:cubicBezTo>
                      <a:pt x="85" y="24"/>
                      <a:pt x="85" y="24"/>
                      <a:pt x="85" y="24"/>
                    </a:cubicBezTo>
                    <a:cubicBezTo>
                      <a:pt x="73" y="19"/>
                      <a:pt x="73" y="19"/>
                      <a:pt x="73" y="19"/>
                    </a:cubicBezTo>
                    <a:cubicBezTo>
                      <a:pt x="80" y="17"/>
                      <a:pt x="80" y="17"/>
                      <a:pt x="80" y="17"/>
                    </a:cubicBezTo>
                    <a:cubicBezTo>
                      <a:pt x="66" y="1"/>
                      <a:pt x="66" y="1"/>
                      <a:pt x="66" y="1"/>
                    </a:cubicBezTo>
                    <a:cubicBezTo>
                      <a:pt x="68" y="11"/>
                      <a:pt x="66" y="20"/>
                      <a:pt x="65" y="25"/>
                    </a:cubicBezTo>
                    <a:cubicBezTo>
                      <a:pt x="63" y="34"/>
                      <a:pt x="63" y="34"/>
                      <a:pt x="63" y="34"/>
                    </a:cubicBezTo>
                    <a:cubicBezTo>
                      <a:pt x="59" y="25"/>
                      <a:pt x="59" y="25"/>
                      <a:pt x="59" y="25"/>
                    </a:cubicBezTo>
                    <a:cubicBezTo>
                      <a:pt x="58" y="23"/>
                      <a:pt x="57" y="22"/>
                      <a:pt x="56" y="20"/>
                    </a:cubicBezTo>
                    <a:cubicBezTo>
                      <a:pt x="42" y="80"/>
                      <a:pt x="42" y="80"/>
                      <a:pt x="42" y="80"/>
                    </a:cubicBezTo>
                    <a:cubicBezTo>
                      <a:pt x="29" y="21"/>
                      <a:pt x="29" y="21"/>
                      <a:pt x="29" y="21"/>
                    </a:cubicBezTo>
                    <a:cubicBezTo>
                      <a:pt x="28" y="22"/>
                      <a:pt x="27" y="24"/>
                      <a:pt x="26" y="25"/>
                    </a:cubicBezTo>
                    <a:cubicBezTo>
                      <a:pt x="22" y="34"/>
                      <a:pt x="22" y="34"/>
                      <a:pt x="22" y="34"/>
                    </a:cubicBezTo>
                    <a:cubicBezTo>
                      <a:pt x="19" y="25"/>
                      <a:pt x="19" y="25"/>
                      <a:pt x="19" y="25"/>
                    </a:cubicBezTo>
                    <a:cubicBezTo>
                      <a:pt x="18" y="20"/>
                      <a:pt x="17" y="10"/>
                      <a:pt x="19" y="0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28" y="83"/>
                      <a:pt x="28" y="83"/>
                      <a:pt x="28" y="83"/>
                    </a:cubicBezTo>
                    <a:cubicBezTo>
                      <a:pt x="33" y="85"/>
                      <a:pt x="38" y="85"/>
                      <a:pt x="41" y="85"/>
                    </a:cubicBezTo>
                    <a:cubicBezTo>
                      <a:pt x="45" y="85"/>
                      <a:pt x="50" y="85"/>
                      <a:pt x="56" y="83"/>
                    </a:cubicBezTo>
                    <a:cubicBezTo>
                      <a:pt x="58" y="78"/>
                      <a:pt x="58" y="78"/>
                      <a:pt x="58" y="78"/>
                    </a:cubicBezTo>
                    <a:cubicBezTo>
                      <a:pt x="57" y="72"/>
                      <a:pt x="56" y="66"/>
                      <a:pt x="55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7" name="Freeform 198">
                <a:extLst>
                  <a:ext uri="{FF2B5EF4-FFF2-40B4-BE49-F238E27FC236}">
                    <a16:creationId xmlns:a16="http://schemas.microsoft.com/office/drawing/2014/main" id="{72312AE6-8B12-441A-9968-8459502F7C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0811" y="4412765"/>
                <a:ext cx="96904" cy="129851"/>
              </a:xfrm>
              <a:custGeom>
                <a:avLst/>
                <a:gdLst>
                  <a:gd name="T0" fmla="*/ 10 w 33"/>
                  <a:gd name="T1" fmla="*/ 16 h 44"/>
                  <a:gd name="T2" fmla="*/ 15 w 33"/>
                  <a:gd name="T3" fmla="*/ 19 h 44"/>
                  <a:gd name="T4" fmla="*/ 3 w 33"/>
                  <a:gd name="T5" fmla="*/ 44 h 44"/>
                  <a:gd name="T6" fmla="*/ 28 w 33"/>
                  <a:gd name="T7" fmla="*/ 35 h 44"/>
                  <a:gd name="T8" fmla="*/ 33 w 33"/>
                  <a:gd name="T9" fmla="*/ 11 h 44"/>
                  <a:gd name="T10" fmla="*/ 0 w 33"/>
                  <a:gd name="T11" fmla="*/ 0 h 44"/>
                  <a:gd name="T12" fmla="*/ 13 w 33"/>
                  <a:gd name="T13" fmla="*/ 15 h 44"/>
                  <a:gd name="T14" fmla="*/ 10 w 33"/>
                  <a:gd name="T15" fmla="*/ 1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44">
                    <a:moveTo>
                      <a:pt x="10" y="16"/>
                    </a:moveTo>
                    <a:cubicBezTo>
                      <a:pt x="15" y="19"/>
                      <a:pt x="15" y="19"/>
                      <a:pt x="15" y="19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30" y="28"/>
                      <a:pt x="32" y="20"/>
                      <a:pt x="33" y="1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15"/>
                      <a:pt x="13" y="15"/>
                      <a:pt x="13" y="15"/>
                    </a:cubicBezTo>
                    <a:lnTo>
                      <a:pt x="10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8" name="Freeform 199">
                <a:extLst>
                  <a:ext uri="{FF2B5EF4-FFF2-40B4-BE49-F238E27FC236}">
                    <a16:creationId xmlns:a16="http://schemas.microsoft.com/office/drawing/2014/main" id="{B62658C9-D981-4E0A-B567-D22E277780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3609" y="4360437"/>
                <a:ext cx="236446" cy="135665"/>
              </a:xfrm>
              <a:custGeom>
                <a:avLst/>
                <a:gdLst>
                  <a:gd name="T0" fmla="*/ 77 w 81"/>
                  <a:gd name="T1" fmla="*/ 5 h 46"/>
                  <a:gd name="T2" fmla="*/ 41 w 81"/>
                  <a:gd name="T3" fmla="*/ 42 h 46"/>
                  <a:gd name="T4" fmla="*/ 4 w 81"/>
                  <a:gd name="T5" fmla="*/ 5 h 46"/>
                  <a:gd name="T6" fmla="*/ 0 w 81"/>
                  <a:gd name="T7" fmla="*/ 0 h 46"/>
                  <a:gd name="T8" fmla="*/ 41 w 81"/>
                  <a:gd name="T9" fmla="*/ 46 h 46"/>
                  <a:gd name="T10" fmla="*/ 81 w 81"/>
                  <a:gd name="T11" fmla="*/ 0 h 46"/>
                  <a:gd name="T12" fmla="*/ 77 w 81"/>
                  <a:gd name="T13" fmla="*/ 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46">
                    <a:moveTo>
                      <a:pt x="77" y="5"/>
                    </a:moveTo>
                    <a:cubicBezTo>
                      <a:pt x="72" y="25"/>
                      <a:pt x="62" y="42"/>
                      <a:pt x="41" y="42"/>
                    </a:cubicBezTo>
                    <a:cubicBezTo>
                      <a:pt x="20" y="42"/>
                      <a:pt x="9" y="25"/>
                      <a:pt x="4" y="5"/>
                    </a:cubicBezTo>
                    <a:cubicBezTo>
                      <a:pt x="2" y="4"/>
                      <a:pt x="1" y="2"/>
                      <a:pt x="0" y="0"/>
                    </a:cubicBezTo>
                    <a:cubicBezTo>
                      <a:pt x="4" y="24"/>
                      <a:pt x="15" y="46"/>
                      <a:pt x="41" y="46"/>
                    </a:cubicBezTo>
                    <a:cubicBezTo>
                      <a:pt x="66" y="46"/>
                      <a:pt x="77" y="24"/>
                      <a:pt x="81" y="0"/>
                    </a:cubicBezTo>
                    <a:cubicBezTo>
                      <a:pt x="80" y="2"/>
                      <a:pt x="79" y="4"/>
                      <a:pt x="77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79" name="Freeform 200">
                <a:extLst>
                  <a:ext uri="{FF2B5EF4-FFF2-40B4-BE49-F238E27FC236}">
                    <a16:creationId xmlns:a16="http://schemas.microsoft.com/office/drawing/2014/main" id="{7D391CD3-C5F4-4919-9DAE-B1654A497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0971" y="4058097"/>
                <a:ext cx="333349" cy="220941"/>
              </a:xfrm>
              <a:custGeom>
                <a:avLst/>
                <a:gdLst>
                  <a:gd name="T0" fmla="*/ 27 w 114"/>
                  <a:gd name="T1" fmla="*/ 17 h 76"/>
                  <a:gd name="T2" fmla="*/ 4 w 114"/>
                  <a:gd name="T3" fmla="*/ 64 h 76"/>
                  <a:gd name="T4" fmla="*/ 6 w 114"/>
                  <a:gd name="T5" fmla="*/ 76 h 76"/>
                  <a:gd name="T6" fmla="*/ 11 w 114"/>
                  <a:gd name="T7" fmla="*/ 75 h 76"/>
                  <a:gd name="T8" fmla="*/ 15 w 114"/>
                  <a:gd name="T9" fmla="*/ 74 h 76"/>
                  <a:gd name="T10" fmla="*/ 15 w 114"/>
                  <a:gd name="T11" fmla="*/ 71 h 76"/>
                  <a:gd name="T12" fmla="*/ 15 w 114"/>
                  <a:gd name="T13" fmla="*/ 69 h 76"/>
                  <a:gd name="T14" fmla="*/ 28 w 114"/>
                  <a:gd name="T15" fmla="*/ 52 h 76"/>
                  <a:gd name="T16" fmla="*/ 57 w 114"/>
                  <a:gd name="T17" fmla="*/ 70 h 76"/>
                  <a:gd name="T18" fmla="*/ 96 w 114"/>
                  <a:gd name="T19" fmla="*/ 71 h 76"/>
                  <a:gd name="T20" fmla="*/ 96 w 114"/>
                  <a:gd name="T21" fmla="*/ 71 h 76"/>
                  <a:gd name="T22" fmla="*/ 96 w 114"/>
                  <a:gd name="T23" fmla="*/ 74 h 76"/>
                  <a:gd name="T24" fmla="*/ 100 w 114"/>
                  <a:gd name="T25" fmla="*/ 75 h 76"/>
                  <a:gd name="T26" fmla="*/ 105 w 114"/>
                  <a:gd name="T27" fmla="*/ 76 h 76"/>
                  <a:gd name="T28" fmla="*/ 106 w 114"/>
                  <a:gd name="T29" fmla="*/ 67 h 76"/>
                  <a:gd name="T30" fmla="*/ 27 w 114"/>
                  <a:gd name="T31" fmla="*/ 17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4" h="76">
                    <a:moveTo>
                      <a:pt x="27" y="17"/>
                    </a:moveTo>
                    <a:cubicBezTo>
                      <a:pt x="17" y="17"/>
                      <a:pt x="0" y="29"/>
                      <a:pt x="4" y="64"/>
                    </a:cubicBezTo>
                    <a:cubicBezTo>
                      <a:pt x="4" y="68"/>
                      <a:pt x="6" y="76"/>
                      <a:pt x="6" y="76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2" y="74"/>
                      <a:pt x="14" y="74"/>
                      <a:pt x="15" y="74"/>
                    </a:cubicBezTo>
                    <a:cubicBezTo>
                      <a:pt x="15" y="73"/>
                      <a:pt x="15" y="72"/>
                      <a:pt x="15" y="71"/>
                    </a:cubicBezTo>
                    <a:cubicBezTo>
                      <a:pt x="15" y="70"/>
                      <a:pt x="15" y="70"/>
                      <a:pt x="15" y="69"/>
                    </a:cubicBezTo>
                    <a:cubicBezTo>
                      <a:pt x="28" y="52"/>
                      <a:pt x="28" y="52"/>
                      <a:pt x="28" y="52"/>
                    </a:cubicBezTo>
                    <a:cubicBezTo>
                      <a:pt x="34" y="59"/>
                      <a:pt x="45" y="65"/>
                      <a:pt x="57" y="70"/>
                    </a:cubicBezTo>
                    <a:cubicBezTo>
                      <a:pt x="72" y="75"/>
                      <a:pt x="86" y="75"/>
                      <a:pt x="96" y="71"/>
                    </a:cubicBezTo>
                    <a:cubicBezTo>
                      <a:pt x="96" y="71"/>
                      <a:pt x="96" y="71"/>
                      <a:pt x="96" y="71"/>
                    </a:cubicBezTo>
                    <a:cubicBezTo>
                      <a:pt x="96" y="72"/>
                      <a:pt x="96" y="73"/>
                      <a:pt x="96" y="74"/>
                    </a:cubicBezTo>
                    <a:cubicBezTo>
                      <a:pt x="97" y="74"/>
                      <a:pt x="99" y="74"/>
                      <a:pt x="100" y="75"/>
                    </a:cubicBezTo>
                    <a:cubicBezTo>
                      <a:pt x="105" y="76"/>
                      <a:pt x="105" y="76"/>
                      <a:pt x="105" y="76"/>
                    </a:cubicBezTo>
                    <a:cubicBezTo>
                      <a:pt x="105" y="76"/>
                      <a:pt x="106" y="70"/>
                      <a:pt x="106" y="67"/>
                    </a:cubicBezTo>
                    <a:cubicBezTo>
                      <a:pt x="114" y="1"/>
                      <a:pt x="46" y="0"/>
                      <a:pt x="2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0" name="Freeform 201">
                <a:extLst>
                  <a:ext uri="{FF2B5EF4-FFF2-40B4-BE49-F238E27FC236}">
                    <a16:creationId xmlns:a16="http://schemas.microsoft.com/office/drawing/2014/main" id="{676A7B10-6F21-41CA-88EC-ED9423E7AB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85857" y="4279038"/>
                <a:ext cx="253888" cy="93028"/>
              </a:xfrm>
              <a:custGeom>
                <a:avLst/>
                <a:gdLst>
                  <a:gd name="T0" fmla="*/ 87 w 87"/>
                  <a:gd name="T1" fmla="*/ 4 h 32"/>
                  <a:gd name="T2" fmla="*/ 44 w 87"/>
                  <a:gd name="T3" fmla="*/ 7 h 32"/>
                  <a:gd name="T4" fmla="*/ 0 w 87"/>
                  <a:gd name="T5" fmla="*/ 4 h 32"/>
                  <a:gd name="T6" fmla="*/ 0 w 87"/>
                  <a:gd name="T7" fmla="*/ 10 h 32"/>
                  <a:gd name="T8" fmla="*/ 20 w 87"/>
                  <a:gd name="T9" fmla="*/ 32 h 32"/>
                  <a:gd name="T10" fmla="*/ 34 w 87"/>
                  <a:gd name="T11" fmla="*/ 28 h 32"/>
                  <a:gd name="T12" fmla="*/ 41 w 87"/>
                  <a:gd name="T13" fmla="*/ 14 h 32"/>
                  <a:gd name="T14" fmla="*/ 46 w 87"/>
                  <a:gd name="T15" fmla="*/ 14 h 32"/>
                  <a:gd name="T16" fmla="*/ 53 w 87"/>
                  <a:gd name="T17" fmla="*/ 28 h 32"/>
                  <a:gd name="T18" fmla="*/ 67 w 87"/>
                  <a:gd name="T19" fmla="*/ 32 h 32"/>
                  <a:gd name="T20" fmla="*/ 87 w 87"/>
                  <a:gd name="T21" fmla="*/ 10 h 32"/>
                  <a:gd name="T22" fmla="*/ 87 w 87"/>
                  <a:gd name="T23" fmla="*/ 4 h 32"/>
                  <a:gd name="T24" fmla="*/ 21 w 87"/>
                  <a:gd name="T25" fmla="*/ 29 h 32"/>
                  <a:gd name="T26" fmla="*/ 7 w 87"/>
                  <a:gd name="T27" fmla="*/ 9 h 32"/>
                  <a:gd name="T28" fmla="*/ 22 w 87"/>
                  <a:gd name="T29" fmla="*/ 6 h 32"/>
                  <a:gd name="T30" fmla="*/ 35 w 87"/>
                  <a:gd name="T31" fmla="*/ 10 h 32"/>
                  <a:gd name="T32" fmla="*/ 21 w 87"/>
                  <a:gd name="T33" fmla="*/ 29 h 32"/>
                  <a:gd name="T34" fmla="*/ 66 w 87"/>
                  <a:gd name="T35" fmla="*/ 29 h 32"/>
                  <a:gd name="T36" fmla="*/ 52 w 87"/>
                  <a:gd name="T37" fmla="*/ 10 h 32"/>
                  <a:gd name="T38" fmla="*/ 65 w 87"/>
                  <a:gd name="T39" fmla="*/ 6 h 32"/>
                  <a:gd name="T40" fmla="*/ 80 w 87"/>
                  <a:gd name="T41" fmla="*/ 9 h 32"/>
                  <a:gd name="T42" fmla="*/ 66 w 87"/>
                  <a:gd name="T43" fmla="*/ 2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7" h="32">
                    <a:moveTo>
                      <a:pt x="87" y="4"/>
                    </a:moveTo>
                    <a:cubicBezTo>
                      <a:pt x="68" y="0"/>
                      <a:pt x="48" y="7"/>
                      <a:pt x="44" y="7"/>
                    </a:cubicBezTo>
                    <a:cubicBezTo>
                      <a:pt x="39" y="7"/>
                      <a:pt x="19" y="0"/>
                      <a:pt x="0" y="4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6" y="13"/>
                      <a:pt x="0" y="29"/>
                      <a:pt x="20" y="32"/>
                    </a:cubicBezTo>
                    <a:cubicBezTo>
                      <a:pt x="25" y="32"/>
                      <a:pt x="30" y="31"/>
                      <a:pt x="34" y="28"/>
                    </a:cubicBezTo>
                    <a:cubicBezTo>
                      <a:pt x="40" y="22"/>
                      <a:pt x="39" y="16"/>
                      <a:pt x="41" y="14"/>
                    </a:cubicBezTo>
                    <a:cubicBezTo>
                      <a:pt x="43" y="13"/>
                      <a:pt x="44" y="13"/>
                      <a:pt x="46" y="14"/>
                    </a:cubicBezTo>
                    <a:cubicBezTo>
                      <a:pt x="48" y="16"/>
                      <a:pt x="47" y="22"/>
                      <a:pt x="53" y="28"/>
                    </a:cubicBezTo>
                    <a:cubicBezTo>
                      <a:pt x="57" y="31"/>
                      <a:pt x="62" y="32"/>
                      <a:pt x="67" y="32"/>
                    </a:cubicBezTo>
                    <a:cubicBezTo>
                      <a:pt x="87" y="29"/>
                      <a:pt x="81" y="13"/>
                      <a:pt x="87" y="10"/>
                    </a:cubicBezTo>
                    <a:cubicBezTo>
                      <a:pt x="87" y="10"/>
                      <a:pt x="87" y="10"/>
                      <a:pt x="87" y="4"/>
                    </a:cubicBezTo>
                    <a:close/>
                    <a:moveTo>
                      <a:pt x="21" y="29"/>
                    </a:moveTo>
                    <a:cubicBezTo>
                      <a:pt x="5" y="29"/>
                      <a:pt x="6" y="12"/>
                      <a:pt x="7" y="9"/>
                    </a:cubicBezTo>
                    <a:cubicBezTo>
                      <a:pt x="8" y="6"/>
                      <a:pt x="17" y="6"/>
                      <a:pt x="22" y="6"/>
                    </a:cubicBezTo>
                    <a:cubicBezTo>
                      <a:pt x="28" y="6"/>
                      <a:pt x="33" y="7"/>
                      <a:pt x="35" y="10"/>
                    </a:cubicBezTo>
                    <a:cubicBezTo>
                      <a:pt x="38" y="13"/>
                      <a:pt x="38" y="30"/>
                      <a:pt x="21" y="29"/>
                    </a:cubicBezTo>
                    <a:close/>
                    <a:moveTo>
                      <a:pt x="66" y="29"/>
                    </a:moveTo>
                    <a:cubicBezTo>
                      <a:pt x="49" y="30"/>
                      <a:pt x="49" y="13"/>
                      <a:pt x="52" y="10"/>
                    </a:cubicBezTo>
                    <a:cubicBezTo>
                      <a:pt x="54" y="7"/>
                      <a:pt x="59" y="6"/>
                      <a:pt x="65" y="6"/>
                    </a:cubicBezTo>
                    <a:cubicBezTo>
                      <a:pt x="70" y="6"/>
                      <a:pt x="79" y="6"/>
                      <a:pt x="80" y="9"/>
                    </a:cubicBezTo>
                    <a:cubicBezTo>
                      <a:pt x="81" y="12"/>
                      <a:pt x="82" y="29"/>
                      <a:pt x="66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1" name="Freeform 202">
                <a:extLst>
                  <a:ext uri="{FF2B5EF4-FFF2-40B4-BE49-F238E27FC236}">
                    <a16:creationId xmlns:a16="http://schemas.microsoft.com/office/drawing/2014/main" id="{AC3281B3-4911-4EED-8F3F-BB7C8B6E5D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3770" y="4463155"/>
                <a:ext cx="108532" cy="149232"/>
              </a:xfrm>
              <a:custGeom>
                <a:avLst/>
                <a:gdLst>
                  <a:gd name="T0" fmla="*/ 0 w 37"/>
                  <a:gd name="T1" fmla="*/ 30 h 51"/>
                  <a:gd name="T2" fmla="*/ 29 w 37"/>
                  <a:gd name="T3" fmla="*/ 0 h 51"/>
                  <a:gd name="T4" fmla="*/ 31 w 37"/>
                  <a:gd name="T5" fmla="*/ 51 h 51"/>
                  <a:gd name="T6" fmla="*/ 0 w 37"/>
                  <a:gd name="T7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51">
                    <a:moveTo>
                      <a:pt x="0" y="30"/>
                    </a:moveTo>
                    <a:cubicBezTo>
                      <a:pt x="0" y="30"/>
                      <a:pt x="28" y="12"/>
                      <a:pt x="29" y="0"/>
                    </a:cubicBezTo>
                    <a:cubicBezTo>
                      <a:pt x="37" y="19"/>
                      <a:pt x="33" y="41"/>
                      <a:pt x="31" y="51"/>
                    </a:cubicBezTo>
                    <a:cubicBezTo>
                      <a:pt x="22" y="32"/>
                      <a:pt x="2" y="30"/>
                      <a:pt x="0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2" name="Freeform 203">
                <a:extLst>
                  <a:ext uri="{FF2B5EF4-FFF2-40B4-BE49-F238E27FC236}">
                    <a16:creationId xmlns:a16="http://schemas.microsoft.com/office/drawing/2014/main" id="{A976F93E-7F98-4FBD-86FE-94AA925812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3299" y="4463155"/>
                <a:ext cx="104656" cy="149232"/>
              </a:xfrm>
              <a:custGeom>
                <a:avLst/>
                <a:gdLst>
                  <a:gd name="T0" fmla="*/ 36 w 36"/>
                  <a:gd name="T1" fmla="*/ 30 h 51"/>
                  <a:gd name="T2" fmla="*/ 7 w 36"/>
                  <a:gd name="T3" fmla="*/ 0 h 51"/>
                  <a:gd name="T4" fmla="*/ 5 w 36"/>
                  <a:gd name="T5" fmla="*/ 51 h 51"/>
                  <a:gd name="T6" fmla="*/ 36 w 36"/>
                  <a:gd name="T7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51">
                    <a:moveTo>
                      <a:pt x="36" y="30"/>
                    </a:moveTo>
                    <a:cubicBezTo>
                      <a:pt x="36" y="30"/>
                      <a:pt x="9" y="12"/>
                      <a:pt x="7" y="0"/>
                    </a:cubicBezTo>
                    <a:cubicBezTo>
                      <a:pt x="0" y="19"/>
                      <a:pt x="3" y="41"/>
                      <a:pt x="5" y="51"/>
                    </a:cubicBezTo>
                    <a:cubicBezTo>
                      <a:pt x="14" y="32"/>
                      <a:pt x="34" y="3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3" name="Freeform 204">
                <a:extLst>
                  <a:ext uri="{FF2B5EF4-FFF2-40B4-BE49-F238E27FC236}">
                    <a16:creationId xmlns:a16="http://schemas.microsoft.com/office/drawing/2014/main" id="{1580D61C-C0FD-4937-A8FA-432989E6D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070" y="4565874"/>
                <a:ext cx="75585" cy="238384"/>
              </a:xfrm>
              <a:custGeom>
                <a:avLst/>
                <a:gdLst>
                  <a:gd name="T0" fmla="*/ 5 w 26"/>
                  <a:gd name="T1" fmla="*/ 13 h 82"/>
                  <a:gd name="T2" fmla="*/ 0 w 26"/>
                  <a:gd name="T3" fmla="*/ 27 h 82"/>
                  <a:gd name="T4" fmla="*/ 12 w 26"/>
                  <a:gd name="T5" fmla="*/ 82 h 82"/>
                  <a:gd name="T6" fmla="*/ 25 w 26"/>
                  <a:gd name="T7" fmla="*/ 25 h 82"/>
                  <a:gd name="T8" fmla="*/ 21 w 26"/>
                  <a:gd name="T9" fmla="*/ 14 h 82"/>
                  <a:gd name="T10" fmla="*/ 21 w 26"/>
                  <a:gd name="T11" fmla="*/ 13 h 82"/>
                  <a:gd name="T12" fmla="*/ 26 w 26"/>
                  <a:gd name="T13" fmla="*/ 4 h 82"/>
                  <a:gd name="T14" fmla="*/ 14 w 26"/>
                  <a:gd name="T15" fmla="*/ 0 h 82"/>
                  <a:gd name="T16" fmla="*/ 12 w 26"/>
                  <a:gd name="T17" fmla="*/ 0 h 82"/>
                  <a:gd name="T18" fmla="*/ 0 w 26"/>
                  <a:gd name="T19" fmla="*/ 4 h 82"/>
                  <a:gd name="T20" fmla="*/ 5 w 26"/>
                  <a:gd name="T21" fmla="*/ 13 h 82"/>
                  <a:gd name="T22" fmla="*/ 5 w 26"/>
                  <a:gd name="T23" fmla="*/ 13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82">
                    <a:moveTo>
                      <a:pt x="5" y="13"/>
                    </a:moveTo>
                    <a:cubicBezTo>
                      <a:pt x="3" y="18"/>
                      <a:pt x="2" y="23"/>
                      <a:pt x="0" y="27"/>
                    </a:cubicBezTo>
                    <a:cubicBezTo>
                      <a:pt x="12" y="82"/>
                      <a:pt x="12" y="82"/>
                      <a:pt x="12" y="82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24" y="22"/>
                      <a:pt x="23" y="18"/>
                      <a:pt x="21" y="14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3" y="10"/>
                      <a:pt x="25" y="7"/>
                      <a:pt x="26" y="4"/>
                    </a:cubicBezTo>
                    <a:cubicBezTo>
                      <a:pt x="21" y="1"/>
                      <a:pt x="16" y="0"/>
                      <a:pt x="1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0" y="0"/>
                      <a:pt x="5" y="1"/>
                      <a:pt x="0" y="4"/>
                    </a:cubicBezTo>
                    <a:cubicBezTo>
                      <a:pt x="1" y="7"/>
                      <a:pt x="3" y="10"/>
                      <a:pt x="5" y="13"/>
                    </a:cubicBezTo>
                    <a:cubicBezTo>
                      <a:pt x="5" y="13"/>
                      <a:pt x="5" y="13"/>
                      <a:pt x="5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4" name="Freeform 206">
                <a:extLst>
                  <a:ext uri="{FF2B5EF4-FFF2-40B4-BE49-F238E27FC236}">
                    <a16:creationId xmlns:a16="http://schemas.microsoft.com/office/drawing/2014/main" id="{254DDD62-2CAB-48EA-9EB5-56AE281A69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2049" y="4519359"/>
                <a:ext cx="228693" cy="370173"/>
              </a:xfrm>
              <a:custGeom>
                <a:avLst/>
                <a:gdLst>
                  <a:gd name="T0" fmla="*/ 43 w 78"/>
                  <a:gd name="T1" fmla="*/ 24 h 127"/>
                  <a:gd name="T2" fmla="*/ 37 w 78"/>
                  <a:gd name="T3" fmla="*/ 22 h 127"/>
                  <a:gd name="T4" fmla="*/ 56 w 78"/>
                  <a:gd name="T5" fmla="*/ 0 h 127"/>
                  <a:gd name="T6" fmla="*/ 0 w 78"/>
                  <a:gd name="T7" fmla="*/ 19 h 127"/>
                  <a:gd name="T8" fmla="*/ 78 w 78"/>
                  <a:gd name="T9" fmla="*/ 127 h 127"/>
                  <a:gd name="T10" fmla="*/ 33 w 78"/>
                  <a:gd name="T11" fmla="*/ 28 h 127"/>
                  <a:gd name="T12" fmla="*/ 43 w 78"/>
                  <a:gd name="T13" fmla="*/ 24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127">
                    <a:moveTo>
                      <a:pt x="43" y="24"/>
                    </a:moveTo>
                    <a:cubicBezTo>
                      <a:pt x="37" y="22"/>
                      <a:pt x="37" y="22"/>
                      <a:pt x="37" y="22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8" y="87"/>
                      <a:pt x="47" y="116"/>
                      <a:pt x="78" y="127"/>
                    </a:cubicBezTo>
                    <a:cubicBezTo>
                      <a:pt x="33" y="28"/>
                      <a:pt x="33" y="28"/>
                      <a:pt x="33" y="28"/>
                    </a:cubicBezTo>
                    <a:lnTo>
                      <a:pt x="43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5" name="Freeform 207">
                <a:extLst>
                  <a:ext uri="{FF2B5EF4-FFF2-40B4-BE49-F238E27FC236}">
                    <a16:creationId xmlns:a16="http://schemas.microsoft.com/office/drawing/2014/main" id="{130487DF-308B-4478-AF8B-43F5BF42FB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9045" y="4519359"/>
                <a:ext cx="220941" cy="368235"/>
              </a:xfrm>
              <a:custGeom>
                <a:avLst/>
                <a:gdLst>
                  <a:gd name="T0" fmla="*/ 76 w 76"/>
                  <a:gd name="T1" fmla="*/ 18 h 126"/>
                  <a:gd name="T2" fmla="*/ 22 w 76"/>
                  <a:gd name="T3" fmla="*/ 0 h 126"/>
                  <a:gd name="T4" fmla="*/ 43 w 76"/>
                  <a:gd name="T5" fmla="*/ 25 h 126"/>
                  <a:gd name="T6" fmla="*/ 38 w 76"/>
                  <a:gd name="T7" fmla="*/ 26 h 126"/>
                  <a:gd name="T8" fmla="*/ 47 w 76"/>
                  <a:gd name="T9" fmla="*/ 30 h 126"/>
                  <a:gd name="T10" fmla="*/ 0 w 76"/>
                  <a:gd name="T11" fmla="*/ 126 h 126"/>
                  <a:gd name="T12" fmla="*/ 76 w 76"/>
                  <a:gd name="T13" fmla="*/ 18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126">
                    <a:moveTo>
                      <a:pt x="76" y="18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38" y="26"/>
                      <a:pt x="38" y="26"/>
                      <a:pt x="38" y="26"/>
                    </a:cubicBezTo>
                    <a:cubicBezTo>
                      <a:pt x="47" y="30"/>
                      <a:pt x="47" y="30"/>
                      <a:pt x="47" y="30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30" y="113"/>
                      <a:pt x="69" y="83"/>
                      <a:pt x="76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86" name="Freeform 208">
                <a:extLst>
                  <a:ext uri="{FF2B5EF4-FFF2-40B4-BE49-F238E27FC236}">
                    <a16:creationId xmlns:a16="http://schemas.microsoft.com/office/drawing/2014/main" id="{84E95565-4662-427C-8B8C-BEDAA360C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0272" y="4498041"/>
                <a:ext cx="403120" cy="408934"/>
              </a:xfrm>
              <a:custGeom>
                <a:avLst/>
                <a:gdLst>
                  <a:gd name="T0" fmla="*/ 120 w 138"/>
                  <a:gd name="T1" fmla="*/ 30 h 140"/>
                  <a:gd name="T2" fmla="*/ 131 w 138"/>
                  <a:gd name="T3" fmla="*/ 28 h 140"/>
                  <a:gd name="T4" fmla="*/ 108 w 138"/>
                  <a:gd name="T5" fmla="*/ 1 h 140"/>
                  <a:gd name="T6" fmla="*/ 107 w 138"/>
                  <a:gd name="T7" fmla="*/ 40 h 140"/>
                  <a:gd name="T8" fmla="*/ 103 w 138"/>
                  <a:gd name="T9" fmla="*/ 56 h 140"/>
                  <a:gd name="T10" fmla="*/ 96 w 138"/>
                  <a:gd name="T11" fmla="*/ 41 h 140"/>
                  <a:gd name="T12" fmla="*/ 91 w 138"/>
                  <a:gd name="T13" fmla="*/ 33 h 140"/>
                  <a:gd name="T14" fmla="*/ 68 w 138"/>
                  <a:gd name="T15" fmla="*/ 131 h 140"/>
                  <a:gd name="T16" fmla="*/ 47 w 138"/>
                  <a:gd name="T17" fmla="*/ 34 h 140"/>
                  <a:gd name="T18" fmla="*/ 42 w 138"/>
                  <a:gd name="T19" fmla="*/ 41 h 140"/>
                  <a:gd name="T20" fmla="*/ 35 w 138"/>
                  <a:gd name="T21" fmla="*/ 56 h 140"/>
                  <a:gd name="T22" fmla="*/ 32 w 138"/>
                  <a:gd name="T23" fmla="*/ 40 h 140"/>
                  <a:gd name="T24" fmla="*/ 30 w 138"/>
                  <a:gd name="T25" fmla="*/ 0 h 140"/>
                  <a:gd name="T26" fmla="*/ 7 w 138"/>
                  <a:gd name="T27" fmla="*/ 26 h 140"/>
                  <a:gd name="T28" fmla="*/ 19 w 138"/>
                  <a:gd name="T29" fmla="*/ 29 h 140"/>
                  <a:gd name="T30" fmla="*/ 0 w 138"/>
                  <a:gd name="T31" fmla="*/ 38 h 140"/>
                  <a:gd name="T32" fmla="*/ 45 w 138"/>
                  <a:gd name="T33" fmla="*/ 136 h 140"/>
                  <a:gd name="T34" fmla="*/ 67 w 138"/>
                  <a:gd name="T35" fmla="*/ 140 h 140"/>
                  <a:gd name="T36" fmla="*/ 91 w 138"/>
                  <a:gd name="T37" fmla="*/ 135 h 140"/>
                  <a:gd name="T38" fmla="*/ 138 w 138"/>
                  <a:gd name="T39" fmla="*/ 40 h 140"/>
                  <a:gd name="T40" fmla="*/ 120 w 138"/>
                  <a:gd name="T41" fmla="*/ 3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8" h="140">
                    <a:moveTo>
                      <a:pt x="120" y="30"/>
                    </a:moveTo>
                    <a:cubicBezTo>
                      <a:pt x="131" y="28"/>
                      <a:pt x="131" y="28"/>
                      <a:pt x="131" y="28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11" y="17"/>
                      <a:pt x="108" y="33"/>
                      <a:pt x="107" y="40"/>
                    </a:cubicBezTo>
                    <a:cubicBezTo>
                      <a:pt x="103" y="56"/>
                      <a:pt x="103" y="56"/>
                      <a:pt x="103" y="56"/>
                    </a:cubicBezTo>
                    <a:cubicBezTo>
                      <a:pt x="96" y="41"/>
                      <a:pt x="96" y="41"/>
                      <a:pt x="96" y="41"/>
                    </a:cubicBezTo>
                    <a:cubicBezTo>
                      <a:pt x="95" y="38"/>
                      <a:pt x="93" y="35"/>
                      <a:pt x="91" y="33"/>
                    </a:cubicBezTo>
                    <a:cubicBezTo>
                      <a:pt x="68" y="131"/>
                      <a:pt x="68" y="131"/>
                      <a:pt x="68" y="131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45" y="36"/>
                      <a:pt x="43" y="38"/>
                      <a:pt x="42" y="41"/>
                    </a:cubicBezTo>
                    <a:cubicBezTo>
                      <a:pt x="35" y="56"/>
                      <a:pt x="35" y="56"/>
                      <a:pt x="35" y="56"/>
                    </a:cubicBezTo>
                    <a:cubicBezTo>
                      <a:pt x="32" y="40"/>
                      <a:pt x="32" y="40"/>
                      <a:pt x="32" y="40"/>
                    </a:cubicBezTo>
                    <a:cubicBezTo>
                      <a:pt x="30" y="33"/>
                      <a:pt x="27" y="17"/>
                      <a:pt x="30" y="0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45" y="136"/>
                      <a:pt x="45" y="136"/>
                      <a:pt x="45" y="136"/>
                    </a:cubicBezTo>
                    <a:cubicBezTo>
                      <a:pt x="54" y="139"/>
                      <a:pt x="62" y="140"/>
                      <a:pt x="67" y="140"/>
                    </a:cubicBezTo>
                    <a:cubicBezTo>
                      <a:pt x="73" y="140"/>
                      <a:pt x="81" y="138"/>
                      <a:pt x="91" y="135"/>
                    </a:cubicBezTo>
                    <a:cubicBezTo>
                      <a:pt x="138" y="40"/>
                      <a:pt x="138" y="40"/>
                      <a:pt x="138" y="40"/>
                    </a:cubicBezTo>
                    <a:lnTo>
                      <a:pt x="120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id="{3F5A8F9E-A8E6-4522-B200-E3F525031977}"/>
                </a:ext>
              </a:extLst>
            </p:cNvPr>
            <p:cNvGrpSpPr/>
            <p:nvPr userDrawn="1"/>
          </p:nvGrpSpPr>
          <p:grpSpPr>
            <a:xfrm>
              <a:off x="4158491" y="49664"/>
              <a:ext cx="640155" cy="492774"/>
              <a:chOff x="5343975" y="4058097"/>
              <a:chExt cx="1102766" cy="848878"/>
            </a:xfrm>
            <a:solidFill>
              <a:srgbClr val="FFFFFF">
                <a:alpha val="26000"/>
              </a:srgbClr>
            </a:solidFill>
          </p:grpSpPr>
          <p:sp>
            <p:nvSpPr>
              <p:cNvPr id="329" name="Freeform 179">
                <a:extLst>
                  <a:ext uri="{FF2B5EF4-FFF2-40B4-BE49-F238E27FC236}">
                    <a16:creationId xmlns:a16="http://schemas.microsoft.com/office/drawing/2014/main" id="{C2C05BBF-6048-416D-8BC8-37703A1F94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7429" y="4387570"/>
                <a:ext cx="56204" cy="13567"/>
              </a:xfrm>
              <a:custGeom>
                <a:avLst/>
                <a:gdLst>
                  <a:gd name="T0" fmla="*/ 19 w 19"/>
                  <a:gd name="T1" fmla="*/ 1 h 5"/>
                  <a:gd name="T2" fmla="*/ 9 w 19"/>
                  <a:gd name="T3" fmla="*/ 5 h 5"/>
                  <a:gd name="T4" fmla="*/ 4 w 19"/>
                  <a:gd name="T5" fmla="*/ 4 h 5"/>
                  <a:gd name="T6" fmla="*/ 0 w 19"/>
                  <a:gd name="T7" fmla="*/ 0 h 5"/>
                  <a:gd name="T8" fmla="*/ 5 w 19"/>
                  <a:gd name="T9" fmla="*/ 3 h 5"/>
                  <a:gd name="T10" fmla="*/ 10 w 19"/>
                  <a:gd name="T11" fmla="*/ 3 h 5"/>
                  <a:gd name="T12" fmla="*/ 19 w 19"/>
                  <a:gd name="T1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5">
                    <a:moveTo>
                      <a:pt x="19" y="1"/>
                    </a:moveTo>
                    <a:cubicBezTo>
                      <a:pt x="17" y="4"/>
                      <a:pt x="13" y="5"/>
                      <a:pt x="9" y="5"/>
                    </a:cubicBezTo>
                    <a:cubicBezTo>
                      <a:pt x="8" y="5"/>
                      <a:pt x="6" y="5"/>
                      <a:pt x="4" y="4"/>
                    </a:cubicBezTo>
                    <a:cubicBezTo>
                      <a:pt x="3" y="3"/>
                      <a:pt x="1" y="2"/>
                      <a:pt x="0" y="0"/>
                    </a:cubicBezTo>
                    <a:cubicBezTo>
                      <a:pt x="2" y="1"/>
                      <a:pt x="3" y="2"/>
                      <a:pt x="5" y="3"/>
                    </a:cubicBezTo>
                    <a:cubicBezTo>
                      <a:pt x="6" y="3"/>
                      <a:pt x="8" y="3"/>
                      <a:pt x="10" y="3"/>
                    </a:cubicBezTo>
                    <a:cubicBezTo>
                      <a:pt x="13" y="4"/>
                      <a:pt x="16" y="2"/>
                      <a:pt x="19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0" name="Freeform 180">
                <a:extLst>
                  <a:ext uri="{FF2B5EF4-FFF2-40B4-BE49-F238E27FC236}">
                    <a16:creationId xmlns:a16="http://schemas.microsoft.com/office/drawing/2014/main" id="{5CCFF21D-9DFD-4771-97EB-24FE5AFEE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2463" y="4122054"/>
                <a:ext cx="255826" cy="261641"/>
              </a:xfrm>
              <a:custGeom>
                <a:avLst/>
                <a:gdLst>
                  <a:gd name="T0" fmla="*/ 36 w 88"/>
                  <a:gd name="T1" fmla="*/ 12 h 90"/>
                  <a:gd name="T2" fmla="*/ 6 w 88"/>
                  <a:gd name="T3" fmla="*/ 70 h 90"/>
                  <a:gd name="T4" fmla="*/ 30 w 88"/>
                  <a:gd name="T5" fmla="*/ 89 h 90"/>
                  <a:gd name="T6" fmla="*/ 23 w 88"/>
                  <a:gd name="T7" fmla="*/ 80 h 90"/>
                  <a:gd name="T8" fmla="*/ 27 w 88"/>
                  <a:gd name="T9" fmla="*/ 32 h 90"/>
                  <a:gd name="T10" fmla="*/ 66 w 88"/>
                  <a:gd name="T11" fmla="*/ 51 h 90"/>
                  <a:gd name="T12" fmla="*/ 55 w 88"/>
                  <a:gd name="T13" fmla="*/ 90 h 90"/>
                  <a:gd name="T14" fmla="*/ 80 w 88"/>
                  <a:gd name="T15" fmla="*/ 71 h 90"/>
                  <a:gd name="T16" fmla="*/ 36 w 88"/>
                  <a:gd name="T17" fmla="*/ 12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8" h="90">
                    <a:moveTo>
                      <a:pt x="36" y="12"/>
                    </a:moveTo>
                    <a:cubicBezTo>
                      <a:pt x="11" y="6"/>
                      <a:pt x="0" y="52"/>
                      <a:pt x="6" y="70"/>
                    </a:cubicBezTo>
                    <a:cubicBezTo>
                      <a:pt x="10" y="84"/>
                      <a:pt x="30" y="89"/>
                      <a:pt x="30" y="89"/>
                    </a:cubicBezTo>
                    <a:cubicBezTo>
                      <a:pt x="30" y="89"/>
                      <a:pt x="25" y="84"/>
                      <a:pt x="23" y="80"/>
                    </a:cubicBezTo>
                    <a:cubicBezTo>
                      <a:pt x="19" y="70"/>
                      <a:pt x="13" y="50"/>
                      <a:pt x="27" y="32"/>
                    </a:cubicBezTo>
                    <a:cubicBezTo>
                      <a:pt x="39" y="39"/>
                      <a:pt x="65" y="42"/>
                      <a:pt x="66" y="51"/>
                    </a:cubicBezTo>
                    <a:cubicBezTo>
                      <a:pt x="68" y="78"/>
                      <a:pt x="55" y="90"/>
                      <a:pt x="55" y="90"/>
                    </a:cubicBezTo>
                    <a:cubicBezTo>
                      <a:pt x="55" y="90"/>
                      <a:pt x="77" y="81"/>
                      <a:pt x="80" y="71"/>
                    </a:cubicBezTo>
                    <a:cubicBezTo>
                      <a:pt x="88" y="42"/>
                      <a:pt x="67" y="0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1" name="Freeform 181">
                <a:extLst>
                  <a:ext uri="{FF2B5EF4-FFF2-40B4-BE49-F238E27FC236}">
                    <a16:creationId xmlns:a16="http://schemas.microsoft.com/office/drawing/2014/main" id="{3E9AE88C-48E5-450A-88DD-3C7C7847FA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5720" y="4389508"/>
                <a:ext cx="60080" cy="106594"/>
              </a:xfrm>
              <a:custGeom>
                <a:avLst/>
                <a:gdLst>
                  <a:gd name="T0" fmla="*/ 12 w 31"/>
                  <a:gd name="T1" fmla="*/ 11 h 55"/>
                  <a:gd name="T2" fmla="*/ 27 w 31"/>
                  <a:gd name="T3" fmla="*/ 0 h 55"/>
                  <a:gd name="T4" fmla="*/ 31 w 31"/>
                  <a:gd name="T5" fmla="*/ 44 h 55"/>
                  <a:gd name="T6" fmla="*/ 0 w 31"/>
                  <a:gd name="T7" fmla="*/ 55 h 55"/>
                  <a:gd name="T8" fmla="*/ 12 w 31"/>
                  <a:gd name="T9" fmla="*/ 1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55">
                    <a:moveTo>
                      <a:pt x="12" y="11"/>
                    </a:moveTo>
                    <a:lnTo>
                      <a:pt x="27" y="0"/>
                    </a:lnTo>
                    <a:lnTo>
                      <a:pt x="31" y="44"/>
                    </a:lnTo>
                    <a:lnTo>
                      <a:pt x="0" y="55"/>
                    </a:lnTo>
                    <a:lnTo>
                      <a:pt x="1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2" name="Freeform 182">
                <a:extLst>
                  <a:ext uri="{FF2B5EF4-FFF2-40B4-BE49-F238E27FC236}">
                    <a16:creationId xmlns:a16="http://schemas.microsoft.com/office/drawing/2014/main" id="{566EBD64-7A71-4B43-9A3A-F8FC814E13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5033" y="4474784"/>
                <a:ext cx="9690" cy="15505"/>
              </a:xfrm>
              <a:custGeom>
                <a:avLst/>
                <a:gdLst>
                  <a:gd name="T0" fmla="*/ 1 w 3"/>
                  <a:gd name="T1" fmla="*/ 5 h 5"/>
                  <a:gd name="T2" fmla="*/ 3 w 3"/>
                  <a:gd name="T3" fmla="*/ 0 h 5"/>
                  <a:gd name="T4" fmla="*/ 0 w 3"/>
                  <a:gd name="T5" fmla="*/ 0 h 5"/>
                  <a:gd name="T6" fmla="*/ 1 w 3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1" y="5"/>
                    </a:moveTo>
                    <a:cubicBezTo>
                      <a:pt x="2" y="4"/>
                      <a:pt x="2" y="2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3" name="Freeform 183">
                <a:extLst>
                  <a:ext uri="{FF2B5EF4-FFF2-40B4-BE49-F238E27FC236}">
                    <a16:creationId xmlns:a16="http://schemas.microsoft.com/office/drawing/2014/main" id="{D17E9053-5ABD-4D36-AA98-CA4B293477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9138" y="4389508"/>
                <a:ext cx="58142" cy="106594"/>
              </a:xfrm>
              <a:custGeom>
                <a:avLst/>
                <a:gdLst>
                  <a:gd name="T0" fmla="*/ 19 w 30"/>
                  <a:gd name="T1" fmla="*/ 11 h 55"/>
                  <a:gd name="T2" fmla="*/ 4 w 30"/>
                  <a:gd name="T3" fmla="*/ 0 h 55"/>
                  <a:gd name="T4" fmla="*/ 0 w 30"/>
                  <a:gd name="T5" fmla="*/ 44 h 55"/>
                  <a:gd name="T6" fmla="*/ 30 w 30"/>
                  <a:gd name="T7" fmla="*/ 55 h 55"/>
                  <a:gd name="T8" fmla="*/ 19 w 30"/>
                  <a:gd name="T9" fmla="*/ 1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55">
                    <a:moveTo>
                      <a:pt x="19" y="11"/>
                    </a:moveTo>
                    <a:lnTo>
                      <a:pt x="4" y="0"/>
                    </a:lnTo>
                    <a:lnTo>
                      <a:pt x="0" y="44"/>
                    </a:lnTo>
                    <a:lnTo>
                      <a:pt x="30" y="55"/>
                    </a:lnTo>
                    <a:lnTo>
                      <a:pt x="1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4" name="Freeform 184">
                <a:extLst>
                  <a:ext uri="{FF2B5EF4-FFF2-40B4-BE49-F238E27FC236}">
                    <a16:creationId xmlns:a16="http://schemas.microsoft.com/office/drawing/2014/main" id="{02815817-CC9A-498F-AE4B-AFCCFC044B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7509" y="4486412"/>
                <a:ext cx="75585" cy="162799"/>
              </a:xfrm>
              <a:custGeom>
                <a:avLst/>
                <a:gdLst>
                  <a:gd name="T0" fmla="*/ 5 w 26"/>
                  <a:gd name="T1" fmla="*/ 0 h 56"/>
                  <a:gd name="T2" fmla="*/ 0 w 26"/>
                  <a:gd name="T3" fmla="*/ 56 h 56"/>
                  <a:gd name="T4" fmla="*/ 13 w 26"/>
                  <a:gd name="T5" fmla="*/ 52 h 56"/>
                  <a:gd name="T6" fmla="*/ 26 w 26"/>
                  <a:gd name="T7" fmla="*/ 8 h 56"/>
                  <a:gd name="T8" fmla="*/ 5 w 26"/>
                  <a:gd name="T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56">
                    <a:moveTo>
                      <a:pt x="5" y="0"/>
                    </a:moveTo>
                    <a:cubicBezTo>
                      <a:pt x="0" y="56"/>
                      <a:pt x="0" y="56"/>
                      <a:pt x="0" y="56"/>
                    </a:cubicBezTo>
                    <a:cubicBezTo>
                      <a:pt x="4" y="55"/>
                      <a:pt x="9" y="54"/>
                      <a:pt x="13" y="52"/>
                    </a:cubicBezTo>
                    <a:cubicBezTo>
                      <a:pt x="16" y="38"/>
                      <a:pt x="21" y="21"/>
                      <a:pt x="26" y="8"/>
                    </a:cubicBez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5" name="Freeform 185">
                <a:extLst>
                  <a:ext uri="{FF2B5EF4-FFF2-40B4-BE49-F238E27FC236}">
                    <a16:creationId xmlns:a16="http://schemas.microsoft.com/office/drawing/2014/main" id="{ACEC8D9E-85FD-45A7-8B7E-234E39C3F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5961" y="4422456"/>
                <a:ext cx="100780" cy="209312"/>
              </a:xfrm>
              <a:custGeom>
                <a:avLst/>
                <a:gdLst>
                  <a:gd name="T0" fmla="*/ 34 w 34"/>
                  <a:gd name="T1" fmla="*/ 9 h 72"/>
                  <a:gd name="T2" fmla="*/ 5 w 34"/>
                  <a:gd name="T3" fmla="*/ 0 h 72"/>
                  <a:gd name="T4" fmla="*/ 9 w 34"/>
                  <a:gd name="T5" fmla="*/ 15 h 72"/>
                  <a:gd name="T6" fmla="*/ 19 w 34"/>
                  <a:gd name="T7" fmla="*/ 14 h 72"/>
                  <a:gd name="T8" fmla="*/ 12 w 34"/>
                  <a:gd name="T9" fmla="*/ 31 h 72"/>
                  <a:gd name="T10" fmla="*/ 0 w 34"/>
                  <a:gd name="T11" fmla="*/ 72 h 72"/>
                  <a:gd name="T12" fmla="*/ 34 w 34"/>
                  <a:gd name="T13" fmla="*/ 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72">
                    <a:moveTo>
                      <a:pt x="34" y="9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9" y="14"/>
                      <a:pt x="19" y="14"/>
                      <a:pt x="19" y="14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8" y="44"/>
                      <a:pt x="4" y="58"/>
                      <a:pt x="0" y="72"/>
                    </a:cubicBezTo>
                    <a:cubicBezTo>
                      <a:pt x="17" y="62"/>
                      <a:pt x="29" y="41"/>
                      <a:pt x="34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6" name="Freeform 186">
                <a:extLst>
                  <a:ext uri="{FF2B5EF4-FFF2-40B4-BE49-F238E27FC236}">
                    <a16:creationId xmlns:a16="http://schemas.microsoft.com/office/drawing/2014/main" id="{EACFFB87-2225-49FC-9F2B-08AF52C489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1615" y="4478660"/>
                <a:ext cx="67833" cy="170551"/>
              </a:xfrm>
              <a:custGeom>
                <a:avLst/>
                <a:gdLst>
                  <a:gd name="T0" fmla="*/ 12 w 23"/>
                  <a:gd name="T1" fmla="*/ 11 h 59"/>
                  <a:gd name="T2" fmla="*/ 0 w 23"/>
                  <a:gd name="T3" fmla="*/ 0 h 59"/>
                  <a:gd name="T4" fmla="*/ 6 w 23"/>
                  <a:gd name="T5" fmla="*/ 59 h 59"/>
                  <a:gd name="T6" fmla="*/ 12 w 23"/>
                  <a:gd name="T7" fmla="*/ 59 h 59"/>
                  <a:gd name="T8" fmla="*/ 18 w 23"/>
                  <a:gd name="T9" fmla="*/ 59 h 59"/>
                  <a:gd name="T10" fmla="*/ 23 w 23"/>
                  <a:gd name="T11" fmla="*/ 0 h 59"/>
                  <a:gd name="T12" fmla="*/ 12 w 23"/>
                  <a:gd name="T13" fmla="*/ 1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59">
                    <a:moveTo>
                      <a:pt x="12" y="1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59"/>
                      <a:pt x="6" y="59"/>
                      <a:pt x="6" y="59"/>
                    </a:cubicBezTo>
                    <a:cubicBezTo>
                      <a:pt x="8" y="59"/>
                      <a:pt x="10" y="59"/>
                      <a:pt x="12" y="59"/>
                    </a:cubicBezTo>
                    <a:cubicBezTo>
                      <a:pt x="14" y="59"/>
                      <a:pt x="16" y="59"/>
                      <a:pt x="18" y="59"/>
                    </a:cubicBezTo>
                    <a:cubicBezTo>
                      <a:pt x="23" y="0"/>
                      <a:pt x="23" y="0"/>
                      <a:pt x="23" y="0"/>
                    </a:cubicBezTo>
                    <a:lnTo>
                      <a:pt x="1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7" name="Freeform 187">
                <a:extLst>
                  <a:ext uri="{FF2B5EF4-FFF2-40B4-BE49-F238E27FC236}">
                    <a16:creationId xmlns:a16="http://schemas.microsoft.com/office/drawing/2014/main" id="{C9459BEA-60FD-4DE3-B964-FC8B11B947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1844" y="4486412"/>
                <a:ext cx="67833" cy="69771"/>
              </a:xfrm>
              <a:custGeom>
                <a:avLst/>
                <a:gdLst>
                  <a:gd name="T0" fmla="*/ 23 w 23"/>
                  <a:gd name="T1" fmla="*/ 24 h 24"/>
                  <a:gd name="T2" fmla="*/ 21 w 23"/>
                  <a:gd name="T3" fmla="*/ 0 h 24"/>
                  <a:gd name="T4" fmla="*/ 0 w 23"/>
                  <a:gd name="T5" fmla="*/ 8 h 24"/>
                  <a:gd name="T6" fmla="*/ 3 w 23"/>
                  <a:gd name="T7" fmla="*/ 17 h 24"/>
                  <a:gd name="T8" fmla="*/ 23 w 23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4">
                    <a:moveTo>
                      <a:pt x="23" y="24"/>
                    </a:moveTo>
                    <a:cubicBezTo>
                      <a:pt x="21" y="0"/>
                      <a:pt x="21" y="0"/>
                      <a:pt x="21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11"/>
                      <a:pt x="2" y="14"/>
                      <a:pt x="3" y="17"/>
                    </a:cubicBezTo>
                    <a:lnTo>
                      <a:pt x="23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8" name="Freeform 188">
                <a:extLst>
                  <a:ext uri="{FF2B5EF4-FFF2-40B4-BE49-F238E27FC236}">
                    <a16:creationId xmlns:a16="http://schemas.microsoft.com/office/drawing/2014/main" id="{EA7FECEC-EAF7-447E-AA2B-D2BDB30846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6259" y="4422456"/>
                <a:ext cx="87214" cy="110470"/>
              </a:xfrm>
              <a:custGeom>
                <a:avLst/>
                <a:gdLst>
                  <a:gd name="T0" fmla="*/ 25 w 30"/>
                  <a:gd name="T1" fmla="*/ 38 h 38"/>
                  <a:gd name="T2" fmla="*/ 23 w 30"/>
                  <a:gd name="T3" fmla="*/ 31 h 38"/>
                  <a:gd name="T4" fmla="*/ 16 w 30"/>
                  <a:gd name="T5" fmla="*/ 14 h 38"/>
                  <a:gd name="T6" fmla="*/ 26 w 30"/>
                  <a:gd name="T7" fmla="*/ 15 h 38"/>
                  <a:gd name="T8" fmla="*/ 30 w 30"/>
                  <a:gd name="T9" fmla="*/ 0 h 38"/>
                  <a:gd name="T10" fmla="*/ 0 w 30"/>
                  <a:gd name="T11" fmla="*/ 9 h 38"/>
                  <a:gd name="T12" fmla="*/ 6 w 30"/>
                  <a:gd name="T13" fmla="*/ 32 h 38"/>
                  <a:gd name="T14" fmla="*/ 25 w 30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8">
                    <a:moveTo>
                      <a:pt x="25" y="38"/>
                    </a:moveTo>
                    <a:cubicBezTo>
                      <a:pt x="24" y="35"/>
                      <a:pt x="23" y="33"/>
                      <a:pt x="23" y="31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26" y="15"/>
                      <a:pt x="26" y="15"/>
                      <a:pt x="26" y="15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2" y="17"/>
                      <a:pt x="4" y="25"/>
                      <a:pt x="6" y="32"/>
                    </a:cubicBezTo>
                    <a:lnTo>
                      <a:pt x="25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39" name="Freeform 189">
                <a:extLst>
                  <a:ext uri="{FF2B5EF4-FFF2-40B4-BE49-F238E27FC236}">
                    <a16:creationId xmlns:a16="http://schemas.microsoft.com/office/drawing/2014/main" id="{F9B98DD7-EA0A-4DE3-A7AA-9CD9EBEA84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3862" y="4602697"/>
                <a:ext cx="13567" cy="46514"/>
              </a:xfrm>
              <a:custGeom>
                <a:avLst/>
                <a:gdLst>
                  <a:gd name="T0" fmla="*/ 0 w 5"/>
                  <a:gd name="T1" fmla="*/ 15 h 16"/>
                  <a:gd name="T2" fmla="*/ 5 w 5"/>
                  <a:gd name="T3" fmla="*/ 16 h 16"/>
                  <a:gd name="T4" fmla="*/ 3 w 5"/>
                  <a:gd name="T5" fmla="*/ 0 h 16"/>
                  <a:gd name="T6" fmla="*/ 0 w 5"/>
                  <a:gd name="T7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6">
                    <a:moveTo>
                      <a:pt x="0" y="15"/>
                    </a:moveTo>
                    <a:cubicBezTo>
                      <a:pt x="2" y="15"/>
                      <a:pt x="3" y="15"/>
                      <a:pt x="5" y="16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5"/>
                      <a:pt x="2" y="10"/>
                      <a:pt x="0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0" name="Freeform 190">
                <a:extLst>
                  <a:ext uri="{FF2B5EF4-FFF2-40B4-BE49-F238E27FC236}">
                    <a16:creationId xmlns:a16="http://schemas.microsoft.com/office/drawing/2014/main" id="{B0980F86-5BED-4B71-8A80-DC0DC87AF2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0215" y="4474784"/>
                <a:ext cx="9690" cy="15505"/>
              </a:xfrm>
              <a:custGeom>
                <a:avLst/>
                <a:gdLst>
                  <a:gd name="T0" fmla="*/ 3 w 3"/>
                  <a:gd name="T1" fmla="*/ 0 h 5"/>
                  <a:gd name="T2" fmla="*/ 0 w 3"/>
                  <a:gd name="T3" fmla="*/ 0 h 5"/>
                  <a:gd name="T4" fmla="*/ 2 w 3"/>
                  <a:gd name="T5" fmla="*/ 5 h 5"/>
                  <a:gd name="T6" fmla="*/ 3 w 3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1" y="3"/>
                      <a:pt x="2" y="5"/>
                    </a:cubicBez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1" name="Freeform 191">
                <a:extLst>
                  <a:ext uri="{FF2B5EF4-FFF2-40B4-BE49-F238E27FC236}">
                    <a16:creationId xmlns:a16="http://schemas.microsoft.com/office/drawing/2014/main" id="{D89D0555-4248-404A-BAAD-2AED415C04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975" y="4412765"/>
                <a:ext cx="137604" cy="228693"/>
              </a:xfrm>
              <a:custGeom>
                <a:avLst/>
                <a:gdLst>
                  <a:gd name="T0" fmla="*/ 26 w 47"/>
                  <a:gd name="T1" fmla="*/ 15 h 78"/>
                  <a:gd name="T2" fmla="*/ 22 w 47"/>
                  <a:gd name="T3" fmla="*/ 14 h 78"/>
                  <a:gd name="T4" fmla="*/ 34 w 47"/>
                  <a:gd name="T5" fmla="*/ 0 h 78"/>
                  <a:gd name="T6" fmla="*/ 0 w 47"/>
                  <a:gd name="T7" fmla="*/ 12 h 78"/>
                  <a:gd name="T8" fmla="*/ 47 w 47"/>
                  <a:gd name="T9" fmla="*/ 78 h 78"/>
                  <a:gd name="T10" fmla="*/ 20 w 47"/>
                  <a:gd name="T11" fmla="*/ 18 h 78"/>
                  <a:gd name="T12" fmla="*/ 26 w 47"/>
                  <a:gd name="T13" fmla="*/ 15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78">
                    <a:moveTo>
                      <a:pt x="26" y="15"/>
                    </a:moveTo>
                    <a:cubicBezTo>
                      <a:pt x="22" y="14"/>
                      <a:pt x="22" y="14"/>
                      <a:pt x="22" y="14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4" y="53"/>
                      <a:pt x="29" y="71"/>
                      <a:pt x="47" y="78"/>
                    </a:cubicBezTo>
                    <a:cubicBezTo>
                      <a:pt x="20" y="18"/>
                      <a:pt x="20" y="18"/>
                      <a:pt x="20" y="18"/>
                    </a:cubicBezTo>
                    <a:lnTo>
                      <a:pt x="26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2" name="Freeform 192">
                <a:extLst>
                  <a:ext uri="{FF2B5EF4-FFF2-40B4-BE49-F238E27FC236}">
                    <a16:creationId xmlns:a16="http://schemas.microsoft.com/office/drawing/2014/main" id="{94EFFB06-1CAE-4D1E-BFDF-092993070E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9721" y="4381756"/>
                <a:ext cx="63957" cy="91090"/>
              </a:xfrm>
              <a:custGeom>
                <a:avLst/>
                <a:gdLst>
                  <a:gd name="T0" fmla="*/ 0 w 22"/>
                  <a:gd name="T1" fmla="*/ 18 h 31"/>
                  <a:gd name="T2" fmla="*/ 18 w 22"/>
                  <a:gd name="T3" fmla="*/ 0 h 31"/>
                  <a:gd name="T4" fmla="*/ 19 w 22"/>
                  <a:gd name="T5" fmla="*/ 31 h 31"/>
                  <a:gd name="T6" fmla="*/ 0 w 22"/>
                  <a:gd name="T7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31">
                    <a:moveTo>
                      <a:pt x="0" y="18"/>
                    </a:moveTo>
                    <a:cubicBezTo>
                      <a:pt x="0" y="18"/>
                      <a:pt x="17" y="7"/>
                      <a:pt x="18" y="0"/>
                    </a:cubicBezTo>
                    <a:cubicBezTo>
                      <a:pt x="22" y="11"/>
                      <a:pt x="20" y="25"/>
                      <a:pt x="19" y="31"/>
                    </a:cubicBezTo>
                    <a:cubicBezTo>
                      <a:pt x="14" y="19"/>
                      <a:pt x="1" y="18"/>
                      <a:pt x="0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3" name="Freeform 193">
                <a:extLst>
                  <a:ext uri="{FF2B5EF4-FFF2-40B4-BE49-F238E27FC236}">
                    <a16:creationId xmlns:a16="http://schemas.microsoft.com/office/drawing/2014/main" id="{B3C8CC02-1201-416B-911D-B6F3E697C4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9950" y="4381756"/>
                <a:ext cx="67833" cy="91090"/>
              </a:xfrm>
              <a:custGeom>
                <a:avLst/>
                <a:gdLst>
                  <a:gd name="T0" fmla="*/ 23 w 23"/>
                  <a:gd name="T1" fmla="*/ 18 h 31"/>
                  <a:gd name="T2" fmla="*/ 5 w 23"/>
                  <a:gd name="T3" fmla="*/ 0 h 31"/>
                  <a:gd name="T4" fmla="*/ 4 w 23"/>
                  <a:gd name="T5" fmla="*/ 31 h 31"/>
                  <a:gd name="T6" fmla="*/ 23 w 23"/>
                  <a:gd name="T7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31">
                    <a:moveTo>
                      <a:pt x="23" y="18"/>
                    </a:moveTo>
                    <a:cubicBezTo>
                      <a:pt x="23" y="18"/>
                      <a:pt x="6" y="7"/>
                      <a:pt x="5" y="0"/>
                    </a:cubicBezTo>
                    <a:cubicBezTo>
                      <a:pt x="0" y="11"/>
                      <a:pt x="2" y="25"/>
                      <a:pt x="4" y="31"/>
                    </a:cubicBezTo>
                    <a:cubicBezTo>
                      <a:pt x="9" y="19"/>
                      <a:pt x="22" y="18"/>
                      <a:pt x="23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4" name="Freeform 194">
                <a:extLst>
                  <a:ext uri="{FF2B5EF4-FFF2-40B4-BE49-F238E27FC236}">
                    <a16:creationId xmlns:a16="http://schemas.microsoft.com/office/drawing/2014/main" id="{CC77B92A-E89C-419F-AF16-D68596E87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4526" y="4441836"/>
                <a:ext cx="48452" cy="147294"/>
              </a:xfrm>
              <a:custGeom>
                <a:avLst/>
                <a:gdLst>
                  <a:gd name="T0" fmla="*/ 4 w 17"/>
                  <a:gd name="T1" fmla="*/ 8 h 50"/>
                  <a:gd name="T2" fmla="*/ 1 w 17"/>
                  <a:gd name="T3" fmla="*/ 17 h 50"/>
                  <a:gd name="T4" fmla="*/ 8 w 17"/>
                  <a:gd name="T5" fmla="*/ 50 h 50"/>
                  <a:gd name="T6" fmla="*/ 16 w 17"/>
                  <a:gd name="T7" fmla="*/ 16 h 50"/>
                  <a:gd name="T8" fmla="*/ 13 w 17"/>
                  <a:gd name="T9" fmla="*/ 8 h 50"/>
                  <a:gd name="T10" fmla="*/ 13 w 17"/>
                  <a:gd name="T11" fmla="*/ 8 h 50"/>
                  <a:gd name="T12" fmla="*/ 17 w 17"/>
                  <a:gd name="T13" fmla="*/ 3 h 50"/>
                  <a:gd name="T14" fmla="*/ 9 w 17"/>
                  <a:gd name="T15" fmla="*/ 0 h 50"/>
                  <a:gd name="T16" fmla="*/ 8 w 17"/>
                  <a:gd name="T17" fmla="*/ 0 h 50"/>
                  <a:gd name="T18" fmla="*/ 0 w 17"/>
                  <a:gd name="T19" fmla="*/ 3 h 50"/>
                  <a:gd name="T20" fmla="*/ 4 w 17"/>
                  <a:gd name="T21" fmla="*/ 8 h 50"/>
                  <a:gd name="T22" fmla="*/ 4 w 17"/>
                  <a:gd name="T23" fmla="*/ 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50">
                    <a:moveTo>
                      <a:pt x="4" y="8"/>
                    </a:moveTo>
                    <a:cubicBezTo>
                      <a:pt x="2" y="11"/>
                      <a:pt x="1" y="14"/>
                      <a:pt x="1" y="17"/>
                    </a:cubicBezTo>
                    <a:cubicBezTo>
                      <a:pt x="8" y="50"/>
                      <a:pt x="8" y="50"/>
                      <a:pt x="8" y="50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5" y="13"/>
                      <a:pt x="14" y="11"/>
                      <a:pt x="13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5" y="6"/>
                      <a:pt x="16" y="4"/>
                      <a:pt x="17" y="3"/>
                    </a:cubicBezTo>
                    <a:cubicBezTo>
                      <a:pt x="13" y="1"/>
                      <a:pt x="10" y="0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4" y="1"/>
                      <a:pt x="0" y="3"/>
                    </a:cubicBezTo>
                    <a:cubicBezTo>
                      <a:pt x="1" y="4"/>
                      <a:pt x="2" y="6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5" name="Freeform 195">
                <a:extLst>
                  <a:ext uri="{FF2B5EF4-FFF2-40B4-BE49-F238E27FC236}">
                    <a16:creationId xmlns:a16="http://schemas.microsoft.com/office/drawing/2014/main" id="{FECA5A4A-51CC-40F1-8549-F0DAB6AFB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1188" y="4141434"/>
                <a:ext cx="199622" cy="164737"/>
              </a:xfrm>
              <a:custGeom>
                <a:avLst/>
                <a:gdLst>
                  <a:gd name="T0" fmla="*/ 42 w 68"/>
                  <a:gd name="T1" fmla="*/ 0 h 56"/>
                  <a:gd name="T2" fmla="*/ 4 w 68"/>
                  <a:gd name="T3" fmla="*/ 35 h 56"/>
                  <a:gd name="T4" fmla="*/ 11 w 68"/>
                  <a:gd name="T5" fmla="*/ 56 h 56"/>
                  <a:gd name="T6" fmla="*/ 10 w 68"/>
                  <a:gd name="T7" fmla="*/ 42 h 56"/>
                  <a:gd name="T8" fmla="*/ 18 w 68"/>
                  <a:gd name="T9" fmla="*/ 28 h 56"/>
                  <a:gd name="T10" fmla="*/ 36 w 68"/>
                  <a:gd name="T11" fmla="*/ 31 h 56"/>
                  <a:gd name="T12" fmla="*/ 53 w 68"/>
                  <a:gd name="T13" fmla="*/ 28 h 56"/>
                  <a:gd name="T14" fmla="*/ 61 w 68"/>
                  <a:gd name="T15" fmla="*/ 41 h 56"/>
                  <a:gd name="T16" fmla="*/ 60 w 68"/>
                  <a:gd name="T17" fmla="*/ 56 h 56"/>
                  <a:gd name="T18" fmla="*/ 66 w 68"/>
                  <a:gd name="T19" fmla="*/ 37 h 56"/>
                  <a:gd name="T20" fmla="*/ 42 w 68"/>
                  <a:gd name="T21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8" h="56">
                    <a:moveTo>
                      <a:pt x="42" y="0"/>
                    </a:moveTo>
                    <a:cubicBezTo>
                      <a:pt x="31" y="7"/>
                      <a:pt x="0" y="1"/>
                      <a:pt x="4" y="35"/>
                    </a:cubicBezTo>
                    <a:cubicBezTo>
                      <a:pt x="5" y="42"/>
                      <a:pt x="8" y="50"/>
                      <a:pt x="11" y="56"/>
                    </a:cubicBezTo>
                    <a:cubicBezTo>
                      <a:pt x="11" y="51"/>
                      <a:pt x="10" y="47"/>
                      <a:pt x="10" y="42"/>
                    </a:cubicBezTo>
                    <a:cubicBezTo>
                      <a:pt x="11" y="35"/>
                      <a:pt x="15" y="29"/>
                      <a:pt x="18" y="28"/>
                    </a:cubicBezTo>
                    <a:cubicBezTo>
                      <a:pt x="22" y="28"/>
                      <a:pt x="27" y="31"/>
                      <a:pt x="36" y="31"/>
                    </a:cubicBezTo>
                    <a:cubicBezTo>
                      <a:pt x="44" y="31"/>
                      <a:pt x="49" y="28"/>
                      <a:pt x="53" y="28"/>
                    </a:cubicBezTo>
                    <a:cubicBezTo>
                      <a:pt x="57" y="29"/>
                      <a:pt x="60" y="35"/>
                      <a:pt x="61" y="41"/>
                    </a:cubicBezTo>
                    <a:cubicBezTo>
                      <a:pt x="61" y="46"/>
                      <a:pt x="60" y="51"/>
                      <a:pt x="60" y="56"/>
                    </a:cubicBezTo>
                    <a:cubicBezTo>
                      <a:pt x="63" y="51"/>
                      <a:pt x="65" y="45"/>
                      <a:pt x="66" y="37"/>
                    </a:cubicBezTo>
                    <a:cubicBezTo>
                      <a:pt x="68" y="26"/>
                      <a:pt x="67" y="7"/>
                      <a:pt x="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6" name="Freeform 196">
                <a:extLst>
                  <a:ext uri="{FF2B5EF4-FFF2-40B4-BE49-F238E27FC236}">
                    <a16:creationId xmlns:a16="http://schemas.microsoft.com/office/drawing/2014/main" id="{E3C01515-CA64-4D37-8CAA-AA6915CD2D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6383" y="4308109"/>
                <a:ext cx="162799" cy="85275"/>
              </a:xfrm>
              <a:custGeom>
                <a:avLst/>
                <a:gdLst>
                  <a:gd name="T0" fmla="*/ 55 w 56"/>
                  <a:gd name="T1" fmla="*/ 1 h 29"/>
                  <a:gd name="T2" fmla="*/ 52 w 56"/>
                  <a:gd name="T3" fmla="*/ 3 h 29"/>
                  <a:gd name="T4" fmla="*/ 50 w 56"/>
                  <a:gd name="T5" fmla="*/ 3 h 29"/>
                  <a:gd name="T6" fmla="*/ 50 w 56"/>
                  <a:gd name="T7" fmla="*/ 3 h 29"/>
                  <a:gd name="T8" fmla="*/ 50 w 56"/>
                  <a:gd name="T9" fmla="*/ 3 h 29"/>
                  <a:gd name="T10" fmla="*/ 50 w 56"/>
                  <a:gd name="T11" fmla="*/ 2 h 29"/>
                  <a:gd name="T12" fmla="*/ 48 w 56"/>
                  <a:gd name="T13" fmla="*/ 12 h 29"/>
                  <a:gd name="T14" fmla="*/ 40 w 56"/>
                  <a:gd name="T15" fmla="*/ 23 h 29"/>
                  <a:gd name="T16" fmla="*/ 28 w 56"/>
                  <a:gd name="T17" fmla="*/ 28 h 29"/>
                  <a:gd name="T18" fmla="*/ 15 w 56"/>
                  <a:gd name="T19" fmla="*/ 23 h 29"/>
                  <a:gd name="T20" fmla="*/ 8 w 56"/>
                  <a:gd name="T21" fmla="*/ 12 h 29"/>
                  <a:gd name="T22" fmla="*/ 5 w 56"/>
                  <a:gd name="T23" fmla="*/ 3 h 29"/>
                  <a:gd name="T24" fmla="*/ 5 w 56"/>
                  <a:gd name="T25" fmla="*/ 3 h 29"/>
                  <a:gd name="T26" fmla="*/ 5 w 56"/>
                  <a:gd name="T27" fmla="*/ 3 h 29"/>
                  <a:gd name="T28" fmla="*/ 5 w 56"/>
                  <a:gd name="T29" fmla="*/ 3 h 29"/>
                  <a:gd name="T30" fmla="*/ 5 w 56"/>
                  <a:gd name="T31" fmla="*/ 3 h 29"/>
                  <a:gd name="T32" fmla="*/ 3 w 56"/>
                  <a:gd name="T33" fmla="*/ 3 h 29"/>
                  <a:gd name="T34" fmla="*/ 3 w 56"/>
                  <a:gd name="T35" fmla="*/ 3 h 29"/>
                  <a:gd name="T36" fmla="*/ 3 w 56"/>
                  <a:gd name="T37" fmla="*/ 3 h 29"/>
                  <a:gd name="T38" fmla="*/ 0 w 56"/>
                  <a:gd name="T39" fmla="*/ 1 h 29"/>
                  <a:gd name="T40" fmla="*/ 0 w 56"/>
                  <a:gd name="T41" fmla="*/ 1 h 29"/>
                  <a:gd name="T42" fmla="*/ 0 w 56"/>
                  <a:gd name="T43" fmla="*/ 3 h 29"/>
                  <a:gd name="T44" fmla="*/ 4 w 56"/>
                  <a:gd name="T45" fmla="*/ 6 h 29"/>
                  <a:gd name="T46" fmla="*/ 6 w 56"/>
                  <a:gd name="T47" fmla="*/ 13 h 29"/>
                  <a:gd name="T48" fmla="*/ 14 w 56"/>
                  <a:gd name="T49" fmla="*/ 25 h 29"/>
                  <a:gd name="T50" fmla="*/ 28 w 56"/>
                  <a:gd name="T51" fmla="*/ 29 h 29"/>
                  <a:gd name="T52" fmla="*/ 41 w 56"/>
                  <a:gd name="T53" fmla="*/ 24 h 29"/>
                  <a:gd name="T54" fmla="*/ 49 w 56"/>
                  <a:gd name="T55" fmla="*/ 12 h 29"/>
                  <a:gd name="T56" fmla="*/ 51 w 56"/>
                  <a:gd name="T57" fmla="*/ 6 h 29"/>
                  <a:gd name="T58" fmla="*/ 55 w 56"/>
                  <a:gd name="T59" fmla="*/ 3 h 29"/>
                  <a:gd name="T60" fmla="*/ 56 w 56"/>
                  <a:gd name="T61" fmla="*/ 0 h 29"/>
                  <a:gd name="T62" fmla="*/ 55 w 56"/>
                  <a:gd name="T63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6" h="29">
                    <a:moveTo>
                      <a:pt x="55" y="1"/>
                    </a:moveTo>
                    <a:cubicBezTo>
                      <a:pt x="54" y="2"/>
                      <a:pt x="53" y="3"/>
                      <a:pt x="52" y="3"/>
                    </a:cubicBezTo>
                    <a:cubicBezTo>
                      <a:pt x="51" y="3"/>
                      <a:pt x="51" y="3"/>
                      <a:pt x="50" y="3"/>
                    </a:cubicBezTo>
                    <a:cubicBezTo>
                      <a:pt x="50" y="3"/>
                      <a:pt x="50" y="3"/>
                      <a:pt x="50" y="3"/>
                    </a:cubicBezTo>
                    <a:cubicBezTo>
                      <a:pt x="50" y="3"/>
                      <a:pt x="50" y="3"/>
                      <a:pt x="50" y="3"/>
                    </a:cubicBezTo>
                    <a:cubicBezTo>
                      <a:pt x="50" y="3"/>
                      <a:pt x="50" y="2"/>
                      <a:pt x="50" y="2"/>
                    </a:cubicBezTo>
                    <a:cubicBezTo>
                      <a:pt x="49" y="6"/>
                      <a:pt x="49" y="9"/>
                      <a:pt x="48" y="12"/>
                    </a:cubicBezTo>
                    <a:cubicBezTo>
                      <a:pt x="46" y="16"/>
                      <a:pt x="44" y="20"/>
                      <a:pt x="40" y="23"/>
                    </a:cubicBezTo>
                    <a:cubicBezTo>
                      <a:pt x="37" y="26"/>
                      <a:pt x="32" y="28"/>
                      <a:pt x="28" y="28"/>
                    </a:cubicBezTo>
                    <a:cubicBezTo>
                      <a:pt x="23" y="28"/>
                      <a:pt x="19" y="26"/>
                      <a:pt x="15" y="23"/>
                    </a:cubicBezTo>
                    <a:cubicBezTo>
                      <a:pt x="12" y="21"/>
                      <a:pt x="10" y="16"/>
                      <a:pt x="8" y="12"/>
                    </a:cubicBezTo>
                    <a:cubicBezTo>
                      <a:pt x="7" y="9"/>
                      <a:pt x="6" y="6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1" y="2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" y="6"/>
                      <a:pt x="2" y="6"/>
                      <a:pt x="4" y="6"/>
                    </a:cubicBezTo>
                    <a:cubicBezTo>
                      <a:pt x="4" y="8"/>
                      <a:pt x="5" y="11"/>
                      <a:pt x="6" y="13"/>
                    </a:cubicBezTo>
                    <a:cubicBezTo>
                      <a:pt x="8" y="17"/>
                      <a:pt x="10" y="22"/>
                      <a:pt x="14" y="25"/>
                    </a:cubicBezTo>
                    <a:cubicBezTo>
                      <a:pt x="18" y="28"/>
                      <a:pt x="23" y="29"/>
                      <a:pt x="28" y="29"/>
                    </a:cubicBezTo>
                    <a:cubicBezTo>
                      <a:pt x="33" y="29"/>
                      <a:pt x="38" y="28"/>
                      <a:pt x="41" y="24"/>
                    </a:cubicBezTo>
                    <a:cubicBezTo>
                      <a:pt x="45" y="21"/>
                      <a:pt x="48" y="17"/>
                      <a:pt x="49" y="12"/>
                    </a:cubicBezTo>
                    <a:cubicBezTo>
                      <a:pt x="50" y="10"/>
                      <a:pt x="51" y="8"/>
                      <a:pt x="51" y="6"/>
                    </a:cubicBezTo>
                    <a:cubicBezTo>
                      <a:pt x="53" y="6"/>
                      <a:pt x="55" y="6"/>
                      <a:pt x="55" y="3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5" y="0"/>
                      <a:pt x="55" y="1"/>
                      <a:pt x="5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7" name="Freeform 197">
                <a:extLst>
                  <a:ext uri="{FF2B5EF4-FFF2-40B4-BE49-F238E27FC236}">
                    <a16:creationId xmlns:a16="http://schemas.microsoft.com/office/drawing/2014/main" id="{49811822-FFF8-46AB-B50B-66B422D44A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3746" y="4401137"/>
                <a:ext cx="250012" cy="248074"/>
              </a:xfrm>
              <a:custGeom>
                <a:avLst/>
                <a:gdLst>
                  <a:gd name="T0" fmla="*/ 55 w 85"/>
                  <a:gd name="T1" fmla="*/ 60 h 85"/>
                  <a:gd name="T2" fmla="*/ 55 w 85"/>
                  <a:gd name="T3" fmla="*/ 55 h 85"/>
                  <a:gd name="T4" fmla="*/ 72 w 85"/>
                  <a:gd name="T5" fmla="*/ 49 h 85"/>
                  <a:gd name="T6" fmla="*/ 85 w 85"/>
                  <a:gd name="T7" fmla="*/ 24 h 85"/>
                  <a:gd name="T8" fmla="*/ 73 w 85"/>
                  <a:gd name="T9" fmla="*/ 19 h 85"/>
                  <a:gd name="T10" fmla="*/ 80 w 85"/>
                  <a:gd name="T11" fmla="*/ 17 h 85"/>
                  <a:gd name="T12" fmla="*/ 66 w 85"/>
                  <a:gd name="T13" fmla="*/ 1 h 85"/>
                  <a:gd name="T14" fmla="*/ 65 w 85"/>
                  <a:gd name="T15" fmla="*/ 25 h 85"/>
                  <a:gd name="T16" fmla="*/ 63 w 85"/>
                  <a:gd name="T17" fmla="*/ 34 h 85"/>
                  <a:gd name="T18" fmla="*/ 59 w 85"/>
                  <a:gd name="T19" fmla="*/ 25 h 85"/>
                  <a:gd name="T20" fmla="*/ 56 w 85"/>
                  <a:gd name="T21" fmla="*/ 20 h 85"/>
                  <a:gd name="T22" fmla="*/ 42 w 85"/>
                  <a:gd name="T23" fmla="*/ 80 h 85"/>
                  <a:gd name="T24" fmla="*/ 29 w 85"/>
                  <a:gd name="T25" fmla="*/ 21 h 85"/>
                  <a:gd name="T26" fmla="*/ 26 w 85"/>
                  <a:gd name="T27" fmla="*/ 25 h 85"/>
                  <a:gd name="T28" fmla="*/ 22 w 85"/>
                  <a:gd name="T29" fmla="*/ 34 h 85"/>
                  <a:gd name="T30" fmla="*/ 19 w 85"/>
                  <a:gd name="T31" fmla="*/ 25 h 85"/>
                  <a:gd name="T32" fmla="*/ 19 w 85"/>
                  <a:gd name="T33" fmla="*/ 0 h 85"/>
                  <a:gd name="T34" fmla="*/ 5 w 85"/>
                  <a:gd name="T35" fmla="*/ 16 h 85"/>
                  <a:gd name="T36" fmla="*/ 12 w 85"/>
                  <a:gd name="T37" fmla="*/ 18 h 85"/>
                  <a:gd name="T38" fmla="*/ 0 w 85"/>
                  <a:gd name="T39" fmla="*/ 23 h 85"/>
                  <a:gd name="T40" fmla="*/ 28 w 85"/>
                  <a:gd name="T41" fmla="*/ 83 h 85"/>
                  <a:gd name="T42" fmla="*/ 41 w 85"/>
                  <a:gd name="T43" fmla="*/ 85 h 85"/>
                  <a:gd name="T44" fmla="*/ 56 w 85"/>
                  <a:gd name="T45" fmla="*/ 83 h 85"/>
                  <a:gd name="T46" fmla="*/ 58 w 85"/>
                  <a:gd name="T47" fmla="*/ 78 h 85"/>
                  <a:gd name="T48" fmla="*/ 55 w 85"/>
                  <a:gd name="T49" fmla="*/ 6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5" h="85">
                    <a:moveTo>
                      <a:pt x="55" y="60"/>
                    </a:moveTo>
                    <a:cubicBezTo>
                      <a:pt x="55" y="55"/>
                      <a:pt x="55" y="55"/>
                      <a:pt x="55" y="55"/>
                    </a:cubicBezTo>
                    <a:cubicBezTo>
                      <a:pt x="72" y="49"/>
                      <a:pt x="72" y="49"/>
                      <a:pt x="72" y="49"/>
                    </a:cubicBezTo>
                    <a:cubicBezTo>
                      <a:pt x="85" y="24"/>
                      <a:pt x="85" y="24"/>
                      <a:pt x="85" y="24"/>
                    </a:cubicBezTo>
                    <a:cubicBezTo>
                      <a:pt x="73" y="19"/>
                      <a:pt x="73" y="19"/>
                      <a:pt x="73" y="19"/>
                    </a:cubicBezTo>
                    <a:cubicBezTo>
                      <a:pt x="80" y="17"/>
                      <a:pt x="80" y="17"/>
                      <a:pt x="80" y="17"/>
                    </a:cubicBezTo>
                    <a:cubicBezTo>
                      <a:pt x="66" y="1"/>
                      <a:pt x="66" y="1"/>
                      <a:pt x="66" y="1"/>
                    </a:cubicBezTo>
                    <a:cubicBezTo>
                      <a:pt x="68" y="11"/>
                      <a:pt x="66" y="20"/>
                      <a:pt x="65" y="25"/>
                    </a:cubicBezTo>
                    <a:cubicBezTo>
                      <a:pt x="63" y="34"/>
                      <a:pt x="63" y="34"/>
                      <a:pt x="63" y="34"/>
                    </a:cubicBezTo>
                    <a:cubicBezTo>
                      <a:pt x="59" y="25"/>
                      <a:pt x="59" y="25"/>
                      <a:pt x="59" y="25"/>
                    </a:cubicBezTo>
                    <a:cubicBezTo>
                      <a:pt x="58" y="23"/>
                      <a:pt x="57" y="22"/>
                      <a:pt x="56" y="20"/>
                    </a:cubicBezTo>
                    <a:cubicBezTo>
                      <a:pt x="42" y="80"/>
                      <a:pt x="42" y="80"/>
                      <a:pt x="42" y="80"/>
                    </a:cubicBezTo>
                    <a:cubicBezTo>
                      <a:pt x="29" y="21"/>
                      <a:pt x="29" y="21"/>
                      <a:pt x="29" y="21"/>
                    </a:cubicBezTo>
                    <a:cubicBezTo>
                      <a:pt x="28" y="22"/>
                      <a:pt x="27" y="24"/>
                      <a:pt x="26" y="25"/>
                    </a:cubicBezTo>
                    <a:cubicBezTo>
                      <a:pt x="22" y="34"/>
                      <a:pt x="22" y="34"/>
                      <a:pt x="22" y="34"/>
                    </a:cubicBezTo>
                    <a:cubicBezTo>
                      <a:pt x="19" y="25"/>
                      <a:pt x="19" y="25"/>
                      <a:pt x="19" y="25"/>
                    </a:cubicBezTo>
                    <a:cubicBezTo>
                      <a:pt x="18" y="20"/>
                      <a:pt x="17" y="10"/>
                      <a:pt x="19" y="0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28" y="83"/>
                      <a:pt x="28" y="83"/>
                      <a:pt x="28" y="83"/>
                    </a:cubicBezTo>
                    <a:cubicBezTo>
                      <a:pt x="33" y="85"/>
                      <a:pt x="38" y="85"/>
                      <a:pt x="41" y="85"/>
                    </a:cubicBezTo>
                    <a:cubicBezTo>
                      <a:pt x="45" y="85"/>
                      <a:pt x="50" y="85"/>
                      <a:pt x="56" y="83"/>
                    </a:cubicBezTo>
                    <a:cubicBezTo>
                      <a:pt x="58" y="78"/>
                      <a:pt x="58" y="78"/>
                      <a:pt x="58" y="78"/>
                    </a:cubicBezTo>
                    <a:cubicBezTo>
                      <a:pt x="57" y="72"/>
                      <a:pt x="56" y="66"/>
                      <a:pt x="55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8" name="Freeform 198">
                <a:extLst>
                  <a:ext uri="{FF2B5EF4-FFF2-40B4-BE49-F238E27FC236}">
                    <a16:creationId xmlns:a16="http://schemas.microsoft.com/office/drawing/2014/main" id="{70A1C37D-40B8-4EA4-894F-84F0C2A01C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0811" y="4412765"/>
                <a:ext cx="96904" cy="129851"/>
              </a:xfrm>
              <a:custGeom>
                <a:avLst/>
                <a:gdLst>
                  <a:gd name="T0" fmla="*/ 10 w 33"/>
                  <a:gd name="T1" fmla="*/ 16 h 44"/>
                  <a:gd name="T2" fmla="*/ 15 w 33"/>
                  <a:gd name="T3" fmla="*/ 19 h 44"/>
                  <a:gd name="T4" fmla="*/ 3 w 33"/>
                  <a:gd name="T5" fmla="*/ 44 h 44"/>
                  <a:gd name="T6" fmla="*/ 28 w 33"/>
                  <a:gd name="T7" fmla="*/ 35 h 44"/>
                  <a:gd name="T8" fmla="*/ 33 w 33"/>
                  <a:gd name="T9" fmla="*/ 11 h 44"/>
                  <a:gd name="T10" fmla="*/ 0 w 33"/>
                  <a:gd name="T11" fmla="*/ 0 h 44"/>
                  <a:gd name="T12" fmla="*/ 13 w 33"/>
                  <a:gd name="T13" fmla="*/ 15 h 44"/>
                  <a:gd name="T14" fmla="*/ 10 w 33"/>
                  <a:gd name="T15" fmla="*/ 1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44">
                    <a:moveTo>
                      <a:pt x="10" y="16"/>
                    </a:moveTo>
                    <a:cubicBezTo>
                      <a:pt x="15" y="19"/>
                      <a:pt x="15" y="19"/>
                      <a:pt x="15" y="19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28" y="35"/>
                      <a:pt x="28" y="35"/>
                      <a:pt x="28" y="35"/>
                    </a:cubicBezTo>
                    <a:cubicBezTo>
                      <a:pt x="30" y="28"/>
                      <a:pt x="32" y="20"/>
                      <a:pt x="33" y="1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15"/>
                      <a:pt x="13" y="15"/>
                      <a:pt x="13" y="15"/>
                    </a:cubicBezTo>
                    <a:lnTo>
                      <a:pt x="10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49" name="Freeform 199">
                <a:extLst>
                  <a:ext uri="{FF2B5EF4-FFF2-40B4-BE49-F238E27FC236}">
                    <a16:creationId xmlns:a16="http://schemas.microsoft.com/office/drawing/2014/main" id="{C2098D39-55F4-4E1A-934C-E43E3F016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3609" y="4360437"/>
                <a:ext cx="236446" cy="135665"/>
              </a:xfrm>
              <a:custGeom>
                <a:avLst/>
                <a:gdLst>
                  <a:gd name="T0" fmla="*/ 77 w 81"/>
                  <a:gd name="T1" fmla="*/ 5 h 46"/>
                  <a:gd name="T2" fmla="*/ 41 w 81"/>
                  <a:gd name="T3" fmla="*/ 42 h 46"/>
                  <a:gd name="T4" fmla="*/ 4 w 81"/>
                  <a:gd name="T5" fmla="*/ 5 h 46"/>
                  <a:gd name="T6" fmla="*/ 0 w 81"/>
                  <a:gd name="T7" fmla="*/ 0 h 46"/>
                  <a:gd name="T8" fmla="*/ 41 w 81"/>
                  <a:gd name="T9" fmla="*/ 46 h 46"/>
                  <a:gd name="T10" fmla="*/ 81 w 81"/>
                  <a:gd name="T11" fmla="*/ 0 h 46"/>
                  <a:gd name="T12" fmla="*/ 77 w 81"/>
                  <a:gd name="T13" fmla="*/ 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46">
                    <a:moveTo>
                      <a:pt x="77" y="5"/>
                    </a:moveTo>
                    <a:cubicBezTo>
                      <a:pt x="72" y="25"/>
                      <a:pt x="62" y="42"/>
                      <a:pt x="41" y="42"/>
                    </a:cubicBezTo>
                    <a:cubicBezTo>
                      <a:pt x="20" y="42"/>
                      <a:pt x="9" y="25"/>
                      <a:pt x="4" y="5"/>
                    </a:cubicBezTo>
                    <a:cubicBezTo>
                      <a:pt x="2" y="4"/>
                      <a:pt x="1" y="2"/>
                      <a:pt x="0" y="0"/>
                    </a:cubicBezTo>
                    <a:cubicBezTo>
                      <a:pt x="4" y="24"/>
                      <a:pt x="15" y="46"/>
                      <a:pt x="41" y="46"/>
                    </a:cubicBezTo>
                    <a:cubicBezTo>
                      <a:pt x="66" y="46"/>
                      <a:pt x="77" y="24"/>
                      <a:pt x="81" y="0"/>
                    </a:cubicBezTo>
                    <a:cubicBezTo>
                      <a:pt x="80" y="2"/>
                      <a:pt x="79" y="4"/>
                      <a:pt x="77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0" name="Freeform 200">
                <a:extLst>
                  <a:ext uri="{FF2B5EF4-FFF2-40B4-BE49-F238E27FC236}">
                    <a16:creationId xmlns:a16="http://schemas.microsoft.com/office/drawing/2014/main" id="{A8E34F5A-F362-4C08-A4C7-201295BE74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0971" y="4058097"/>
                <a:ext cx="333349" cy="220941"/>
              </a:xfrm>
              <a:custGeom>
                <a:avLst/>
                <a:gdLst>
                  <a:gd name="T0" fmla="*/ 27 w 114"/>
                  <a:gd name="T1" fmla="*/ 17 h 76"/>
                  <a:gd name="T2" fmla="*/ 4 w 114"/>
                  <a:gd name="T3" fmla="*/ 64 h 76"/>
                  <a:gd name="T4" fmla="*/ 6 w 114"/>
                  <a:gd name="T5" fmla="*/ 76 h 76"/>
                  <a:gd name="T6" fmla="*/ 11 w 114"/>
                  <a:gd name="T7" fmla="*/ 75 h 76"/>
                  <a:gd name="T8" fmla="*/ 15 w 114"/>
                  <a:gd name="T9" fmla="*/ 74 h 76"/>
                  <a:gd name="T10" fmla="*/ 15 w 114"/>
                  <a:gd name="T11" fmla="*/ 71 h 76"/>
                  <a:gd name="T12" fmla="*/ 15 w 114"/>
                  <a:gd name="T13" fmla="*/ 69 h 76"/>
                  <a:gd name="T14" fmla="*/ 28 w 114"/>
                  <a:gd name="T15" fmla="*/ 52 h 76"/>
                  <a:gd name="T16" fmla="*/ 57 w 114"/>
                  <a:gd name="T17" fmla="*/ 70 h 76"/>
                  <a:gd name="T18" fmla="*/ 96 w 114"/>
                  <a:gd name="T19" fmla="*/ 71 h 76"/>
                  <a:gd name="T20" fmla="*/ 96 w 114"/>
                  <a:gd name="T21" fmla="*/ 71 h 76"/>
                  <a:gd name="T22" fmla="*/ 96 w 114"/>
                  <a:gd name="T23" fmla="*/ 74 h 76"/>
                  <a:gd name="T24" fmla="*/ 100 w 114"/>
                  <a:gd name="T25" fmla="*/ 75 h 76"/>
                  <a:gd name="T26" fmla="*/ 105 w 114"/>
                  <a:gd name="T27" fmla="*/ 76 h 76"/>
                  <a:gd name="T28" fmla="*/ 106 w 114"/>
                  <a:gd name="T29" fmla="*/ 67 h 76"/>
                  <a:gd name="T30" fmla="*/ 27 w 114"/>
                  <a:gd name="T31" fmla="*/ 17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4" h="76">
                    <a:moveTo>
                      <a:pt x="27" y="17"/>
                    </a:moveTo>
                    <a:cubicBezTo>
                      <a:pt x="17" y="17"/>
                      <a:pt x="0" y="29"/>
                      <a:pt x="4" y="64"/>
                    </a:cubicBezTo>
                    <a:cubicBezTo>
                      <a:pt x="4" y="68"/>
                      <a:pt x="6" y="76"/>
                      <a:pt x="6" y="76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2" y="74"/>
                      <a:pt x="14" y="74"/>
                      <a:pt x="15" y="74"/>
                    </a:cubicBezTo>
                    <a:cubicBezTo>
                      <a:pt x="15" y="73"/>
                      <a:pt x="15" y="72"/>
                      <a:pt x="15" y="71"/>
                    </a:cubicBezTo>
                    <a:cubicBezTo>
                      <a:pt x="15" y="70"/>
                      <a:pt x="15" y="70"/>
                      <a:pt x="15" y="69"/>
                    </a:cubicBezTo>
                    <a:cubicBezTo>
                      <a:pt x="28" y="52"/>
                      <a:pt x="28" y="52"/>
                      <a:pt x="28" y="52"/>
                    </a:cubicBezTo>
                    <a:cubicBezTo>
                      <a:pt x="34" y="59"/>
                      <a:pt x="45" y="65"/>
                      <a:pt x="57" y="70"/>
                    </a:cubicBezTo>
                    <a:cubicBezTo>
                      <a:pt x="72" y="75"/>
                      <a:pt x="86" y="75"/>
                      <a:pt x="96" y="71"/>
                    </a:cubicBezTo>
                    <a:cubicBezTo>
                      <a:pt x="96" y="71"/>
                      <a:pt x="96" y="71"/>
                      <a:pt x="96" y="71"/>
                    </a:cubicBezTo>
                    <a:cubicBezTo>
                      <a:pt x="96" y="72"/>
                      <a:pt x="96" y="73"/>
                      <a:pt x="96" y="74"/>
                    </a:cubicBezTo>
                    <a:cubicBezTo>
                      <a:pt x="97" y="74"/>
                      <a:pt x="99" y="74"/>
                      <a:pt x="100" y="75"/>
                    </a:cubicBezTo>
                    <a:cubicBezTo>
                      <a:pt x="105" y="76"/>
                      <a:pt x="105" y="76"/>
                      <a:pt x="105" y="76"/>
                    </a:cubicBezTo>
                    <a:cubicBezTo>
                      <a:pt x="105" y="76"/>
                      <a:pt x="106" y="70"/>
                      <a:pt x="106" y="67"/>
                    </a:cubicBezTo>
                    <a:cubicBezTo>
                      <a:pt x="114" y="1"/>
                      <a:pt x="46" y="0"/>
                      <a:pt x="2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1" name="Freeform 201">
                <a:extLst>
                  <a:ext uri="{FF2B5EF4-FFF2-40B4-BE49-F238E27FC236}">
                    <a16:creationId xmlns:a16="http://schemas.microsoft.com/office/drawing/2014/main" id="{26F523F1-DE15-453D-91ED-6770A19D54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85857" y="4279038"/>
                <a:ext cx="253888" cy="93028"/>
              </a:xfrm>
              <a:custGeom>
                <a:avLst/>
                <a:gdLst>
                  <a:gd name="T0" fmla="*/ 87 w 87"/>
                  <a:gd name="T1" fmla="*/ 4 h 32"/>
                  <a:gd name="T2" fmla="*/ 44 w 87"/>
                  <a:gd name="T3" fmla="*/ 7 h 32"/>
                  <a:gd name="T4" fmla="*/ 0 w 87"/>
                  <a:gd name="T5" fmla="*/ 4 h 32"/>
                  <a:gd name="T6" fmla="*/ 0 w 87"/>
                  <a:gd name="T7" fmla="*/ 10 h 32"/>
                  <a:gd name="T8" fmla="*/ 20 w 87"/>
                  <a:gd name="T9" fmla="*/ 32 h 32"/>
                  <a:gd name="T10" fmla="*/ 34 w 87"/>
                  <a:gd name="T11" fmla="*/ 28 h 32"/>
                  <a:gd name="T12" fmla="*/ 41 w 87"/>
                  <a:gd name="T13" fmla="*/ 14 h 32"/>
                  <a:gd name="T14" fmla="*/ 46 w 87"/>
                  <a:gd name="T15" fmla="*/ 14 h 32"/>
                  <a:gd name="T16" fmla="*/ 53 w 87"/>
                  <a:gd name="T17" fmla="*/ 28 h 32"/>
                  <a:gd name="T18" fmla="*/ 67 w 87"/>
                  <a:gd name="T19" fmla="*/ 32 h 32"/>
                  <a:gd name="T20" fmla="*/ 87 w 87"/>
                  <a:gd name="T21" fmla="*/ 10 h 32"/>
                  <a:gd name="T22" fmla="*/ 87 w 87"/>
                  <a:gd name="T23" fmla="*/ 4 h 32"/>
                  <a:gd name="T24" fmla="*/ 21 w 87"/>
                  <a:gd name="T25" fmla="*/ 29 h 32"/>
                  <a:gd name="T26" fmla="*/ 7 w 87"/>
                  <a:gd name="T27" fmla="*/ 9 h 32"/>
                  <a:gd name="T28" fmla="*/ 22 w 87"/>
                  <a:gd name="T29" fmla="*/ 6 h 32"/>
                  <a:gd name="T30" fmla="*/ 35 w 87"/>
                  <a:gd name="T31" fmla="*/ 10 h 32"/>
                  <a:gd name="T32" fmla="*/ 21 w 87"/>
                  <a:gd name="T33" fmla="*/ 29 h 32"/>
                  <a:gd name="T34" fmla="*/ 66 w 87"/>
                  <a:gd name="T35" fmla="*/ 29 h 32"/>
                  <a:gd name="T36" fmla="*/ 52 w 87"/>
                  <a:gd name="T37" fmla="*/ 10 h 32"/>
                  <a:gd name="T38" fmla="*/ 65 w 87"/>
                  <a:gd name="T39" fmla="*/ 6 h 32"/>
                  <a:gd name="T40" fmla="*/ 80 w 87"/>
                  <a:gd name="T41" fmla="*/ 9 h 32"/>
                  <a:gd name="T42" fmla="*/ 66 w 87"/>
                  <a:gd name="T43" fmla="*/ 2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7" h="32">
                    <a:moveTo>
                      <a:pt x="87" y="4"/>
                    </a:moveTo>
                    <a:cubicBezTo>
                      <a:pt x="68" y="0"/>
                      <a:pt x="48" y="7"/>
                      <a:pt x="44" y="7"/>
                    </a:cubicBezTo>
                    <a:cubicBezTo>
                      <a:pt x="39" y="7"/>
                      <a:pt x="19" y="0"/>
                      <a:pt x="0" y="4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6" y="13"/>
                      <a:pt x="0" y="29"/>
                      <a:pt x="20" y="32"/>
                    </a:cubicBezTo>
                    <a:cubicBezTo>
                      <a:pt x="25" y="32"/>
                      <a:pt x="30" y="31"/>
                      <a:pt x="34" y="28"/>
                    </a:cubicBezTo>
                    <a:cubicBezTo>
                      <a:pt x="40" y="22"/>
                      <a:pt x="39" y="16"/>
                      <a:pt x="41" y="14"/>
                    </a:cubicBezTo>
                    <a:cubicBezTo>
                      <a:pt x="43" y="13"/>
                      <a:pt x="44" y="13"/>
                      <a:pt x="46" y="14"/>
                    </a:cubicBezTo>
                    <a:cubicBezTo>
                      <a:pt x="48" y="16"/>
                      <a:pt x="47" y="22"/>
                      <a:pt x="53" y="28"/>
                    </a:cubicBezTo>
                    <a:cubicBezTo>
                      <a:pt x="57" y="31"/>
                      <a:pt x="62" y="32"/>
                      <a:pt x="67" y="32"/>
                    </a:cubicBezTo>
                    <a:cubicBezTo>
                      <a:pt x="87" y="29"/>
                      <a:pt x="81" y="13"/>
                      <a:pt x="87" y="10"/>
                    </a:cubicBezTo>
                    <a:cubicBezTo>
                      <a:pt x="87" y="10"/>
                      <a:pt x="87" y="10"/>
                      <a:pt x="87" y="4"/>
                    </a:cubicBezTo>
                    <a:close/>
                    <a:moveTo>
                      <a:pt x="21" y="29"/>
                    </a:moveTo>
                    <a:cubicBezTo>
                      <a:pt x="5" y="29"/>
                      <a:pt x="6" y="12"/>
                      <a:pt x="7" y="9"/>
                    </a:cubicBezTo>
                    <a:cubicBezTo>
                      <a:pt x="8" y="6"/>
                      <a:pt x="17" y="6"/>
                      <a:pt x="22" y="6"/>
                    </a:cubicBezTo>
                    <a:cubicBezTo>
                      <a:pt x="28" y="6"/>
                      <a:pt x="33" y="7"/>
                      <a:pt x="35" y="10"/>
                    </a:cubicBezTo>
                    <a:cubicBezTo>
                      <a:pt x="38" y="13"/>
                      <a:pt x="38" y="30"/>
                      <a:pt x="21" y="29"/>
                    </a:cubicBezTo>
                    <a:close/>
                    <a:moveTo>
                      <a:pt x="66" y="29"/>
                    </a:moveTo>
                    <a:cubicBezTo>
                      <a:pt x="49" y="30"/>
                      <a:pt x="49" y="13"/>
                      <a:pt x="52" y="10"/>
                    </a:cubicBezTo>
                    <a:cubicBezTo>
                      <a:pt x="54" y="7"/>
                      <a:pt x="59" y="6"/>
                      <a:pt x="65" y="6"/>
                    </a:cubicBezTo>
                    <a:cubicBezTo>
                      <a:pt x="70" y="6"/>
                      <a:pt x="79" y="6"/>
                      <a:pt x="80" y="9"/>
                    </a:cubicBezTo>
                    <a:cubicBezTo>
                      <a:pt x="81" y="12"/>
                      <a:pt x="82" y="29"/>
                      <a:pt x="66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2" name="Freeform 202">
                <a:extLst>
                  <a:ext uri="{FF2B5EF4-FFF2-40B4-BE49-F238E27FC236}">
                    <a16:creationId xmlns:a16="http://schemas.microsoft.com/office/drawing/2014/main" id="{3B622776-B143-4D7B-8133-3B1A2B3E21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3770" y="4463155"/>
                <a:ext cx="108532" cy="149232"/>
              </a:xfrm>
              <a:custGeom>
                <a:avLst/>
                <a:gdLst>
                  <a:gd name="T0" fmla="*/ 0 w 37"/>
                  <a:gd name="T1" fmla="*/ 30 h 51"/>
                  <a:gd name="T2" fmla="*/ 29 w 37"/>
                  <a:gd name="T3" fmla="*/ 0 h 51"/>
                  <a:gd name="T4" fmla="*/ 31 w 37"/>
                  <a:gd name="T5" fmla="*/ 51 h 51"/>
                  <a:gd name="T6" fmla="*/ 0 w 37"/>
                  <a:gd name="T7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51">
                    <a:moveTo>
                      <a:pt x="0" y="30"/>
                    </a:moveTo>
                    <a:cubicBezTo>
                      <a:pt x="0" y="30"/>
                      <a:pt x="28" y="12"/>
                      <a:pt x="29" y="0"/>
                    </a:cubicBezTo>
                    <a:cubicBezTo>
                      <a:pt x="37" y="19"/>
                      <a:pt x="33" y="41"/>
                      <a:pt x="31" y="51"/>
                    </a:cubicBezTo>
                    <a:cubicBezTo>
                      <a:pt x="22" y="32"/>
                      <a:pt x="2" y="30"/>
                      <a:pt x="0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3" name="Freeform 203">
                <a:extLst>
                  <a:ext uri="{FF2B5EF4-FFF2-40B4-BE49-F238E27FC236}">
                    <a16:creationId xmlns:a16="http://schemas.microsoft.com/office/drawing/2014/main" id="{D09B8233-B62B-4CE4-A5A6-DA31D11F7E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3299" y="4463155"/>
                <a:ext cx="104656" cy="149232"/>
              </a:xfrm>
              <a:custGeom>
                <a:avLst/>
                <a:gdLst>
                  <a:gd name="T0" fmla="*/ 36 w 36"/>
                  <a:gd name="T1" fmla="*/ 30 h 51"/>
                  <a:gd name="T2" fmla="*/ 7 w 36"/>
                  <a:gd name="T3" fmla="*/ 0 h 51"/>
                  <a:gd name="T4" fmla="*/ 5 w 36"/>
                  <a:gd name="T5" fmla="*/ 51 h 51"/>
                  <a:gd name="T6" fmla="*/ 36 w 36"/>
                  <a:gd name="T7" fmla="*/ 3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51">
                    <a:moveTo>
                      <a:pt x="36" y="30"/>
                    </a:moveTo>
                    <a:cubicBezTo>
                      <a:pt x="36" y="30"/>
                      <a:pt x="9" y="12"/>
                      <a:pt x="7" y="0"/>
                    </a:cubicBezTo>
                    <a:cubicBezTo>
                      <a:pt x="0" y="19"/>
                      <a:pt x="3" y="41"/>
                      <a:pt x="5" y="51"/>
                    </a:cubicBezTo>
                    <a:cubicBezTo>
                      <a:pt x="14" y="32"/>
                      <a:pt x="34" y="30"/>
                      <a:pt x="3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4" name="Freeform 204">
                <a:extLst>
                  <a:ext uri="{FF2B5EF4-FFF2-40B4-BE49-F238E27FC236}">
                    <a16:creationId xmlns:a16="http://schemas.microsoft.com/office/drawing/2014/main" id="{C664B4D2-5E06-42AD-A78B-24960AB0C7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73070" y="4565874"/>
                <a:ext cx="75585" cy="238384"/>
              </a:xfrm>
              <a:custGeom>
                <a:avLst/>
                <a:gdLst>
                  <a:gd name="T0" fmla="*/ 5 w 26"/>
                  <a:gd name="T1" fmla="*/ 13 h 82"/>
                  <a:gd name="T2" fmla="*/ 0 w 26"/>
                  <a:gd name="T3" fmla="*/ 27 h 82"/>
                  <a:gd name="T4" fmla="*/ 12 w 26"/>
                  <a:gd name="T5" fmla="*/ 82 h 82"/>
                  <a:gd name="T6" fmla="*/ 25 w 26"/>
                  <a:gd name="T7" fmla="*/ 25 h 82"/>
                  <a:gd name="T8" fmla="*/ 21 w 26"/>
                  <a:gd name="T9" fmla="*/ 14 h 82"/>
                  <a:gd name="T10" fmla="*/ 21 w 26"/>
                  <a:gd name="T11" fmla="*/ 13 h 82"/>
                  <a:gd name="T12" fmla="*/ 26 w 26"/>
                  <a:gd name="T13" fmla="*/ 4 h 82"/>
                  <a:gd name="T14" fmla="*/ 14 w 26"/>
                  <a:gd name="T15" fmla="*/ 0 h 82"/>
                  <a:gd name="T16" fmla="*/ 12 w 26"/>
                  <a:gd name="T17" fmla="*/ 0 h 82"/>
                  <a:gd name="T18" fmla="*/ 0 w 26"/>
                  <a:gd name="T19" fmla="*/ 4 h 82"/>
                  <a:gd name="T20" fmla="*/ 5 w 26"/>
                  <a:gd name="T21" fmla="*/ 13 h 82"/>
                  <a:gd name="T22" fmla="*/ 5 w 26"/>
                  <a:gd name="T23" fmla="*/ 13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82">
                    <a:moveTo>
                      <a:pt x="5" y="13"/>
                    </a:moveTo>
                    <a:cubicBezTo>
                      <a:pt x="3" y="18"/>
                      <a:pt x="2" y="23"/>
                      <a:pt x="0" y="27"/>
                    </a:cubicBezTo>
                    <a:cubicBezTo>
                      <a:pt x="12" y="82"/>
                      <a:pt x="12" y="82"/>
                      <a:pt x="12" y="82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24" y="22"/>
                      <a:pt x="23" y="18"/>
                      <a:pt x="21" y="14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3" y="10"/>
                      <a:pt x="25" y="7"/>
                      <a:pt x="26" y="4"/>
                    </a:cubicBezTo>
                    <a:cubicBezTo>
                      <a:pt x="21" y="1"/>
                      <a:pt x="16" y="0"/>
                      <a:pt x="1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0" y="0"/>
                      <a:pt x="5" y="1"/>
                      <a:pt x="0" y="4"/>
                    </a:cubicBezTo>
                    <a:cubicBezTo>
                      <a:pt x="1" y="7"/>
                      <a:pt x="3" y="10"/>
                      <a:pt x="5" y="13"/>
                    </a:cubicBezTo>
                    <a:cubicBezTo>
                      <a:pt x="5" y="13"/>
                      <a:pt x="5" y="13"/>
                      <a:pt x="5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5" name="Freeform 206">
                <a:extLst>
                  <a:ext uri="{FF2B5EF4-FFF2-40B4-BE49-F238E27FC236}">
                    <a16:creationId xmlns:a16="http://schemas.microsoft.com/office/drawing/2014/main" id="{E2FC8ABA-4467-4010-A824-1CCC5A437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2049" y="4519359"/>
                <a:ext cx="228693" cy="370173"/>
              </a:xfrm>
              <a:custGeom>
                <a:avLst/>
                <a:gdLst>
                  <a:gd name="T0" fmla="*/ 43 w 78"/>
                  <a:gd name="T1" fmla="*/ 24 h 127"/>
                  <a:gd name="T2" fmla="*/ 37 w 78"/>
                  <a:gd name="T3" fmla="*/ 22 h 127"/>
                  <a:gd name="T4" fmla="*/ 56 w 78"/>
                  <a:gd name="T5" fmla="*/ 0 h 127"/>
                  <a:gd name="T6" fmla="*/ 0 w 78"/>
                  <a:gd name="T7" fmla="*/ 19 h 127"/>
                  <a:gd name="T8" fmla="*/ 78 w 78"/>
                  <a:gd name="T9" fmla="*/ 127 h 127"/>
                  <a:gd name="T10" fmla="*/ 33 w 78"/>
                  <a:gd name="T11" fmla="*/ 28 h 127"/>
                  <a:gd name="T12" fmla="*/ 43 w 78"/>
                  <a:gd name="T13" fmla="*/ 24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127">
                    <a:moveTo>
                      <a:pt x="43" y="24"/>
                    </a:moveTo>
                    <a:cubicBezTo>
                      <a:pt x="37" y="22"/>
                      <a:pt x="37" y="22"/>
                      <a:pt x="37" y="22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8" y="87"/>
                      <a:pt x="47" y="116"/>
                      <a:pt x="78" y="127"/>
                    </a:cubicBezTo>
                    <a:cubicBezTo>
                      <a:pt x="33" y="28"/>
                      <a:pt x="33" y="28"/>
                      <a:pt x="33" y="28"/>
                    </a:cubicBezTo>
                    <a:lnTo>
                      <a:pt x="43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6" name="Freeform 207">
                <a:extLst>
                  <a:ext uri="{FF2B5EF4-FFF2-40B4-BE49-F238E27FC236}">
                    <a16:creationId xmlns:a16="http://schemas.microsoft.com/office/drawing/2014/main" id="{D4F759FB-7078-4FAB-B6D2-FC7CD87D9F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9045" y="4519359"/>
                <a:ext cx="220941" cy="368235"/>
              </a:xfrm>
              <a:custGeom>
                <a:avLst/>
                <a:gdLst>
                  <a:gd name="T0" fmla="*/ 76 w 76"/>
                  <a:gd name="T1" fmla="*/ 18 h 126"/>
                  <a:gd name="T2" fmla="*/ 22 w 76"/>
                  <a:gd name="T3" fmla="*/ 0 h 126"/>
                  <a:gd name="T4" fmla="*/ 43 w 76"/>
                  <a:gd name="T5" fmla="*/ 25 h 126"/>
                  <a:gd name="T6" fmla="*/ 38 w 76"/>
                  <a:gd name="T7" fmla="*/ 26 h 126"/>
                  <a:gd name="T8" fmla="*/ 47 w 76"/>
                  <a:gd name="T9" fmla="*/ 30 h 126"/>
                  <a:gd name="T10" fmla="*/ 0 w 76"/>
                  <a:gd name="T11" fmla="*/ 126 h 126"/>
                  <a:gd name="T12" fmla="*/ 76 w 76"/>
                  <a:gd name="T13" fmla="*/ 18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126">
                    <a:moveTo>
                      <a:pt x="76" y="18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38" y="26"/>
                      <a:pt x="38" y="26"/>
                      <a:pt x="38" y="26"/>
                    </a:cubicBezTo>
                    <a:cubicBezTo>
                      <a:pt x="47" y="30"/>
                      <a:pt x="47" y="30"/>
                      <a:pt x="47" y="30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30" y="113"/>
                      <a:pt x="69" y="83"/>
                      <a:pt x="76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57" name="Freeform 208">
                <a:extLst>
                  <a:ext uri="{FF2B5EF4-FFF2-40B4-BE49-F238E27FC236}">
                    <a16:creationId xmlns:a16="http://schemas.microsoft.com/office/drawing/2014/main" id="{E4ED3796-8490-41E3-ADF5-402DBDBA6D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0272" y="4498041"/>
                <a:ext cx="403120" cy="408934"/>
              </a:xfrm>
              <a:custGeom>
                <a:avLst/>
                <a:gdLst>
                  <a:gd name="T0" fmla="*/ 120 w 138"/>
                  <a:gd name="T1" fmla="*/ 30 h 140"/>
                  <a:gd name="T2" fmla="*/ 131 w 138"/>
                  <a:gd name="T3" fmla="*/ 28 h 140"/>
                  <a:gd name="T4" fmla="*/ 108 w 138"/>
                  <a:gd name="T5" fmla="*/ 1 h 140"/>
                  <a:gd name="T6" fmla="*/ 107 w 138"/>
                  <a:gd name="T7" fmla="*/ 40 h 140"/>
                  <a:gd name="T8" fmla="*/ 103 w 138"/>
                  <a:gd name="T9" fmla="*/ 56 h 140"/>
                  <a:gd name="T10" fmla="*/ 96 w 138"/>
                  <a:gd name="T11" fmla="*/ 41 h 140"/>
                  <a:gd name="T12" fmla="*/ 91 w 138"/>
                  <a:gd name="T13" fmla="*/ 33 h 140"/>
                  <a:gd name="T14" fmla="*/ 68 w 138"/>
                  <a:gd name="T15" fmla="*/ 131 h 140"/>
                  <a:gd name="T16" fmla="*/ 47 w 138"/>
                  <a:gd name="T17" fmla="*/ 34 h 140"/>
                  <a:gd name="T18" fmla="*/ 42 w 138"/>
                  <a:gd name="T19" fmla="*/ 41 h 140"/>
                  <a:gd name="T20" fmla="*/ 35 w 138"/>
                  <a:gd name="T21" fmla="*/ 56 h 140"/>
                  <a:gd name="T22" fmla="*/ 32 w 138"/>
                  <a:gd name="T23" fmla="*/ 40 h 140"/>
                  <a:gd name="T24" fmla="*/ 30 w 138"/>
                  <a:gd name="T25" fmla="*/ 0 h 140"/>
                  <a:gd name="T26" fmla="*/ 7 w 138"/>
                  <a:gd name="T27" fmla="*/ 26 h 140"/>
                  <a:gd name="T28" fmla="*/ 19 w 138"/>
                  <a:gd name="T29" fmla="*/ 29 h 140"/>
                  <a:gd name="T30" fmla="*/ 0 w 138"/>
                  <a:gd name="T31" fmla="*/ 38 h 140"/>
                  <a:gd name="T32" fmla="*/ 45 w 138"/>
                  <a:gd name="T33" fmla="*/ 136 h 140"/>
                  <a:gd name="T34" fmla="*/ 67 w 138"/>
                  <a:gd name="T35" fmla="*/ 140 h 140"/>
                  <a:gd name="T36" fmla="*/ 91 w 138"/>
                  <a:gd name="T37" fmla="*/ 135 h 140"/>
                  <a:gd name="T38" fmla="*/ 138 w 138"/>
                  <a:gd name="T39" fmla="*/ 40 h 140"/>
                  <a:gd name="T40" fmla="*/ 120 w 138"/>
                  <a:gd name="T41" fmla="*/ 3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8" h="140">
                    <a:moveTo>
                      <a:pt x="120" y="30"/>
                    </a:moveTo>
                    <a:cubicBezTo>
                      <a:pt x="131" y="28"/>
                      <a:pt x="131" y="28"/>
                      <a:pt x="131" y="28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11" y="17"/>
                      <a:pt x="108" y="33"/>
                      <a:pt x="107" y="40"/>
                    </a:cubicBezTo>
                    <a:cubicBezTo>
                      <a:pt x="103" y="56"/>
                      <a:pt x="103" y="56"/>
                      <a:pt x="103" y="56"/>
                    </a:cubicBezTo>
                    <a:cubicBezTo>
                      <a:pt x="96" y="41"/>
                      <a:pt x="96" y="41"/>
                      <a:pt x="96" y="41"/>
                    </a:cubicBezTo>
                    <a:cubicBezTo>
                      <a:pt x="95" y="38"/>
                      <a:pt x="93" y="35"/>
                      <a:pt x="91" y="33"/>
                    </a:cubicBezTo>
                    <a:cubicBezTo>
                      <a:pt x="68" y="131"/>
                      <a:pt x="68" y="131"/>
                      <a:pt x="68" y="131"/>
                    </a:cubicBezTo>
                    <a:cubicBezTo>
                      <a:pt x="47" y="34"/>
                      <a:pt x="47" y="34"/>
                      <a:pt x="47" y="34"/>
                    </a:cubicBezTo>
                    <a:cubicBezTo>
                      <a:pt x="45" y="36"/>
                      <a:pt x="43" y="38"/>
                      <a:pt x="42" y="41"/>
                    </a:cubicBezTo>
                    <a:cubicBezTo>
                      <a:pt x="35" y="56"/>
                      <a:pt x="35" y="56"/>
                      <a:pt x="35" y="56"/>
                    </a:cubicBezTo>
                    <a:cubicBezTo>
                      <a:pt x="32" y="40"/>
                      <a:pt x="32" y="40"/>
                      <a:pt x="32" y="40"/>
                    </a:cubicBezTo>
                    <a:cubicBezTo>
                      <a:pt x="30" y="33"/>
                      <a:pt x="27" y="17"/>
                      <a:pt x="30" y="0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45" y="136"/>
                      <a:pt x="45" y="136"/>
                      <a:pt x="45" y="136"/>
                    </a:cubicBezTo>
                    <a:cubicBezTo>
                      <a:pt x="54" y="139"/>
                      <a:pt x="62" y="140"/>
                      <a:pt x="67" y="140"/>
                    </a:cubicBezTo>
                    <a:cubicBezTo>
                      <a:pt x="73" y="140"/>
                      <a:pt x="81" y="138"/>
                      <a:pt x="91" y="135"/>
                    </a:cubicBezTo>
                    <a:cubicBezTo>
                      <a:pt x="138" y="40"/>
                      <a:pt x="138" y="40"/>
                      <a:pt x="138" y="40"/>
                    </a:cubicBezTo>
                    <a:lnTo>
                      <a:pt x="120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05" name="Group 204">
              <a:extLst>
                <a:ext uri="{FF2B5EF4-FFF2-40B4-BE49-F238E27FC236}">
                  <a16:creationId xmlns:a16="http://schemas.microsoft.com/office/drawing/2014/main" id="{452B9F3B-1E77-430F-833E-E3E3A2EBF10F}"/>
                </a:ext>
              </a:extLst>
            </p:cNvPr>
            <p:cNvGrpSpPr/>
            <p:nvPr userDrawn="1"/>
          </p:nvGrpSpPr>
          <p:grpSpPr>
            <a:xfrm>
              <a:off x="7354923" y="3729924"/>
              <a:ext cx="311633" cy="438363"/>
              <a:chOff x="2370963" y="2220799"/>
              <a:chExt cx="581424" cy="817868"/>
            </a:xfrm>
            <a:solidFill>
              <a:srgbClr val="FFFFFF"/>
            </a:solidFill>
          </p:grpSpPr>
          <p:sp>
            <p:nvSpPr>
              <p:cNvPr id="320" name="Rectangle 58">
                <a:extLst>
                  <a:ext uri="{FF2B5EF4-FFF2-40B4-BE49-F238E27FC236}">
                    <a16:creationId xmlns:a16="http://schemas.microsoft.com/office/drawing/2014/main" id="{8C7E3443-145F-4BBF-9D84-FB62C4549C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54300" y="3001844"/>
                <a:ext cx="474829" cy="3682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1" name="Freeform 59">
                <a:extLst>
                  <a:ext uri="{FF2B5EF4-FFF2-40B4-BE49-F238E27FC236}">
                    <a16:creationId xmlns:a16="http://schemas.microsoft.com/office/drawing/2014/main" id="{8F4C86E4-9217-46D2-8F0D-563C4C53D4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4300" y="2278941"/>
                <a:ext cx="275207" cy="393430"/>
              </a:xfrm>
              <a:custGeom>
                <a:avLst/>
                <a:gdLst>
                  <a:gd name="T0" fmla="*/ 77 w 142"/>
                  <a:gd name="T1" fmla="*/ 203 h 203"/>
                  <a:gd name="T2" fmla="*/ 0 w 142"/>
                  <a:gd name="T3" fmla="*/ 174 h 203"/>
                  <a:gd name="T4" fmla="*/ 65 w 142"/>
                  <a:gd name="T5" fmla="*/ 0 h 203"/>
                  <a:gd name="T6" fmla="*/ 142 w 142"/>
                  <a:gd name="T7" fmla="*/ 28 h 203"/>
                  <a:gd name="T8" fmla="*/ 77 w 142"/>
                  <a:gd name="T9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203">
                    <a:moveTo>
                      <a:pt x="77" y="203"/>
                    </a:moveTo>
                    <a:lnTo>
                      <a:pt x="0" y="174"/>
                    </a:lnTo>
                    <a:lnTo>
                      <a:pt x="65" y="0"/>
                    </a:lnTo>
                    <a:lnTo>
                      <a:pt x="142" y="28"/>
                    </a:lnTo>
                    <a:lnTo>
                      <a:pt x="77" y="2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2" name="Freeform 60">
                <a:extLst>
                  <a:ext uri="{FF2B5EF4-FFF2-40B4-BE49-F238E27FC236}">
                    <a16:creationId xmlns:a16="http://schemas.microsoft.com/office/drawing/2014/main" id="{8A043486-F578-4381-A03B-2704417910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5929" y="2682061"/>
                <a:ext cx="77523" cy="60080"/>
              </a:xfrm>
              <a:custGeom>
                <a:avLst/>
                <a:gdLst>
                  <a:gd name="T0" fmla="*/ 8 w 40"/>
                  <a:gd name="T1" fmla="*/ 0 h 31"/>
                  <a:gd name="T2" fmla="*/ 0 w 40"/>
                  <a:gd name="T3" fmla="*/ 19 h 31"/>
                  <a:gd name="T4" fmla="*/ 32 w 40"/>
                  <a:gd name="T5" fmla="*/ 31 h 31"/>
                  <a:gd name="T6" fmla="*/ 40 w 40"/>
                  <a:gd name="T7" fmla="*/ 12 h 31"/>
                  <a:gd name="T8" fmla="*/ 8 w 40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1">
                    <a:moveTo>
                      <a:pt x="8" y="0"/>
                    </a:moveTo>
                    <a:lnTo>
                      <a:pt x="0" y="19"/>
                    </a:lnTo>
                    <a:lnTo>
                      <a:pt x="32" y="31"/>
                    </a:lnTo>
                    <a:lnTo>
                      <a:pt x="40" y="1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3" name="Freeform 61">
                <a:extLst>
                  <a:ext uri="{FF2B5EF4-FFF2-40B4-BE49-F238E27FC236}">
                    <a16:creationId xmlns:a16="http://schemas.microsoft.com/office/drawing/2014/main" id="{DB126426-D577-464D-8294-302D9205E4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5929" y="2641362"/>
                <a:ext cx="108532" cy="58142"/>
              </a:xfrm>
              <a:custGeom>
                <a:avLst/>
                <a:gdLst>
                  <a:gd name="T0" fmla="*/ 5 w 56"/>
                  <a:gd name="T1" fmla="*/ 0 h 30"/>
                  <a:gd name="T2" fmla="*/ 0 w 56"/>
                  <a:gd name="T3" fmla="*/ 10 h 30"/>
                  <a:gd name="T4" fmla="*/ 52 w 56"/>
                  <a:gd name="T5" fmla="*/ 30 h 30"/>
                  <a:gd name="T6" fmla="*/ 56 w 56"/>
                  <a:gd name="T7" fmla="*/ 18 h 30"/>
                  <a:gd name="T8" fmla="*/ 5 w 56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30">
                    <a:moveTo>
                      <a:pt x="5" y="0"/>
                    </a:moveTo>
                    <a:lnTo>
                      <a:pt x="0" y="10"/>
                    </a:lnTo>
                    <a:lnTo>
                      <a:pt x="52" y="30"/>
                    </a:lnTo>
                    <a:lnTo>
                      <a:pt x="56" y="18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4" name="Freeform 62">
                <a:extLst>
                  <a:ext uri="{FF2B5EF4-FFF2-40B4-BE49-F238E27FC236}">
                    <a16:creationId xmlns:a16="http://schemas.microsoft.com/office/drawing/2014/main" id="{06AACD2D-790D-4C3F-AD7A-1373DBF00D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0975" y="2220799"/>
                <a:ext cx="100780" cy="87214"/>
              </a:xfrm>
              <a:custGeom>
                <a:avLst/>
                <a:gdLst>
                  <a:gd name="T0" fmla="*/ 40 w 52"/>
                  <a:gd name="T1" fmla="*/ 45 h 45"/>
                  <a:gd name="T2" fmla="*/ 52 w 52"/>
                  <a:gd name="T3" fmla="*/ 15 h 45"/>
                  <a:gd name="T4" fmla="*/ 12 w 52"/>
                  <a:gd name="T5" fmla="*/ 0 h 45"/>
                  <a:gd name="T6" fmla="*/ 0 w 52"/>
                  <a:gd name="T7" fmla="*/ 30 h 45"/>
                  <a:gd name="T8" fmla="*/ 40 w 52"/>
                  <a:gd name="T9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5">
                    <a:moveTo>
                      <a:pt x="40" y="45"/>
                    </a:moveTo>
                    <a:lnTo>
                      <a:pt x="52" y="15"/>
                    </a:lnTo>
                    <a:lnTo>
                      <a:pt x="12" y="0"/>
                    </a:lnTo>
                    <a:lnTo>
                      <a:pt x="0" y="30"/>
                    </a:lnTo>
                    <a:lnTo>
                      <a:pt x="40" y="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5" name="Freeform 63">
                <a:extLst>
                  <a:ext uri="{FF2B5EF4-FFF2-40B4-BE49-F238E27FC236}">
                    <a16:creationId xmlns:a16="http://schemas.microsoft.com/office/drawing/2014/main" id="{E1DF3A7E-282D-4404-A752-97CE6CAD02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50046" y="2412669"/>
                <a:ext cx="112409" cy="195746"/>
              </a:xfrm>
              <a:custGeom>
                <a:avLst/>
                <a:gdLst>
                  <a:gd name="T0" fmla="*/ 29 w 38"/>
                  <a:gd name="T1" fmla="*/ 25 h 67"/>
                  <a:gd name="T2" fmla="*/ 37 w 38"/>
                  <a:gd name="T3" fmla="*/ 6 h 67"/>
                  <a:gd name="T4" fmla="*/ 22 w 38"/>
                  <a:gd name="T5" fmla="*/ 0 h 67"/>
                  <a:gd name="T6" fmla="*/ 0 w 38"/>
                  <a:gd name="T7" fmla="*/ 61 h 67"/>
                  <a:gd name="T8" fmla="*/ 14 w 38"/>
                  <a:gd name="T9" fmla="*/ 67 h 67"/>
                  <a:gd name="T10" fmla="*/ 20 w 38"/>
                  <a:gd name="T11" fmla="*/ 50 h 67"/>
                  <a:gd name="T12" fmla="*/ 24 w 38"/>
                  <a:gd name="T13" fmla="*/ 51 h 67"/>
                  <a:gd name="T14" fmla="*/ 38 w 38"/>
                  <a:gd name="T15" fmla="*/ 38 h 67"/>
                  <a:gd name="T16" fmla="*/ 29 w 38"/>
                  <a:gd name="T17" fmla="*/ 25 h 67"/>
                  <a:gd name="T18" fmla="*/ 24 w 38"/>
                  <a:gd name="T19" fmla="*/ 45 h 67"/>
                  <a:gd name="T20" fmla="*/ 17 w 38"/>
                  <a:gd name="T21" fmla="*/ 38 h 67"/>
                  <a:gd name="T22" fmla="*/ 24 w 38"/>
                  <a:gd name="T23" fmla="*/ 30 h 67"/>
                  <a:gd name="T24" fmla="*/ 32 w 38"/>
                  <a:gd name="T25" fmla="*/ 38 h 67"/>
                  <a:gd name="T26" fmla="*/ 24 w 38"/>
                  <a:gd name="T27" fmla="*/ 4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67">
                    <a:moveTo>
                      <a:pt x="29" y="25"/>
                    </a:moveTo>
                    <a:cubicBezTo>
                      <a:pt x="37" y="6"/>
                      <a:pt x="37" y="6"/>
                      <a:pt x="37" y="6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14" y="67"/>
                      <a:pt x="14" y="67"/>
                      <a:pt x="14" y="67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21" y="51"/>
                      <a:pt x="23" y="51"/>
                      <a:pt x="24" y="51"/>
                    </a:cubicBezTo>
                    <a:cubicBezTo>
                      <a:pt x="32" y="51"/>
                      <a:pt x="38" y="45"/>
                      <a:pt x="38" y="38"/>
                    </a:cubicBezTo>
                    <a:cubicBezTo>
                      <a:pt x="38" y="32"/>
                      <a:pt x="34" y="27"/>
                      <a:pt x="29" y="25"/>
                    </a:cubicBezTo>
                    <a:close/>
                    <a:moveTo>
                      <a:pt x="24" y="45"/>
                    </a:moveTo>
                    <a:cubicBezTo>
                      <a:pt x="20" y="45"/>
                      <a:pt x="17" y="42"/>
                      <a:pt x="17" y="38"/>
                    </a:cubicBezTo>
                    <a:cubicBezTo>
                      <a:pt x="17" y="34"/>
                      <a:pt x="20" y="30"/>
                      <a:pt x="24" y="30"/>
                    </a:cubicBezTo>
                    <a:cubicBezTo>
                      <a:pt x="28" y="30"/>
                      <a:pt x="32" y="34"/>
                      <a:pt x="32" y="38"/>
                    </a:cubicBezTo>
                    <a:cubicBezTo>
                      <a:pt x="32" y="42"/>
                      <a:pt x="28" y="45"/>
                      <a:pt x="24" y="4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6" name="Freeform 64">
                <a:extLst>
                  <a:ext uri="{FF2B5EF4-FFF2-40B4-BE49-F238E27FC236}">
                    <a16:creationId xmlns:a16="http://schemas.microsoft.com/office/drawing/2014/main" id="{FD4C4619-891E-48E0-B13E-48010789A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963" y="2736328"/>
                <a:ext cx="306216" cy="149232"/>
              </a:xfrm>
              <a:custGeom>
                <a:avLst/>
                <a:gdLst>
                  <a:gd name="T0" fmla="*/ 105 w 105"/>
                  <a:gd name="T1" fmla="*/ 51 h 51"/>
                  <a:gd name="T2" fmla="*/ 105 w 105"/>
                  <a:gd name="T3" fmla="*/ 41 h 51"/>
                  <a:gd name="T4" fmla="*/ 105 w 105"/>
                  <a:gd name="T5" fmla="*/ 36 h 51"/>
                  <a:gd name="T6" fmla="*/ 70 w 105"/>
                  <a:gd name="T7" fmla="*/ 33 h 51"/>
                  <a:gd name="T8" fmla="*/ 73 w 105"/>
                  <a:gd name="T9" fmla="*/ 26 h 51"/>
                  <a:gd name="T10" fmla="*/ 3 w 105"/>
                  <a:gd name="T11" fmla="*/ 0 h 51"/>
                  <a:gd name="T12" fmla="*/ 0 w 105"/>
                  <a:gd name="T13" fmla="*/ 10 h 51"/>
                  <a:gd name="T14" fmla="*/ 58 w 105"/>
                  <a:gd name="T15" fmla="*/ 32 h 51"/>
                  <a:gd name="T16" fmla="*/ 55 w 105"/>
                  <a:gd name="T17" fmla="*/ 40 h 51"/>
                  <a:gd name="T18" fmla="*/ 105 w 105"/>
                  <a:gd name="T19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5" h="51">
                    <a:moveTo>
                      <a:pt x="105" y="51"/>
                    </a:moveTo>
                    <a:cubicBezTo>
                      <a:pt x="105" y="41"/>
                      <a:pt x="105" y="41"/>
                      <a:pt x="105" y="41"/>
                    </a:cubicBezTo>
                    <a:cubicBezTo>
                      <a:pt x="105" y="39"/>
                      <a:pt x="105" y="38"/>
                      <a:pt x="105" y="36"/>
                    </a:cubicBezTo>
                    <a:cubicBezTo>
                      <a:pt x="95" y="38"/>
                      <a:pt x="84" y="37"/>
                      <a:pt x="70" y="33"/>
                    </a:cubicBezTo>
                    <a:cubicBezTo>
                      <a:pt x="73" y="26"/>
                      <a:pt x="73" y="26"/>
                      <a:pt x="73" y="26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58" y="32"/>
                      <a:pt x="58" y="32"/>
                      <a:pt x="58" y="32"/>
                    </a:cubicBezTo>
                    <a:cubicBezTo>
                      <a:pt x="55" y="40"/>
                      <a:pt x="55" y="40"/>
                      <a:pt x="55" y="40"/>
                    </a:cubicBezTo>
                    <a:cubicBezTo>
                      <a:pt x="73" y="47"/>
                      <a:pt x="90" y="50"/>
                      <a:pt x="105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7" name="Freeform 65">
                <a:extLst>
                  <a:ext uri="{FF2B5EF4-FFF2-40B4-BE49-F238E27FC236}">
                    <a16:creationId xmlns:a16="http://schemas.microsoft.com/office/drawing/2014/main" id="{B4A81EFD-CB8B-45DF-8004-670BFAE43F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2065" y="2459183"/>
                <a:ext cx="240322" cy="385678"/>
              </a:xfrm>
              <a:custGeom>
                <a:avLst/>
                <a:gdLst>
                  <a:gd name="T0" fmla="*/ 17 w 82"/>
                  <a:gd name="T1" fmla="*/ 0 h 132"/>
                  <a:gd name="T2" fmla="*/ 14 w 82"/>
                  <a:gd name="T3" fmla="*/ 7 h 132"/>
                  <a:gd name="T4" fmla="*/ 22 w 82"/>
                  <a:gd name="T5" fmla="*/ 22 h 132"/>
                  <a:gd name="T6" fmla="*/ 3 w 82"/>
                  <a:gd name="T7" fmla="*/ 40 h 132"/>
                  <a:gd name="T8" fmla="*/ 2 w 82"/>
                  <a:gd name="T9" fmla="*/ 40 h 132"/>
                  <a:gd name="T10" fmla="*/ 0 w 82"/>
                  <a:gd name="T11" fmla="*/ 46 h 132"/>
                  <a:gd name="T12" fmla="*/ 26 w 82"/>
                  <a:gd name="T13" fmla="*/ 99 h 132"/>
                  <a:gd name="T14" fmla="*/ 18 w 82"/>
                  <a:gd name="T15" fmla="*/ 114 h 132"/>
                  <a:gd name="T16" fmla="*/ 43 w 82"/>
                  <a:gd name="T17" fmla="*/ 132 h 132"/>
                  <a:gd name="T18" fmla="*/ 69 w 82"/>
                  <a:gd name="T19" fmla="*/ 100 h 132"/>
                  <a:gd name="T20" fmla="*/ 17 w 82"/>
                  <a:gd name="T21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2" h="132">
                    <a:moveTo>
                      <a:pt x="17" y="0"/>
                    </a:moveTo>
                    <a:cubicBezTo>
                      <a:pt x="14" y="7"/>
                      <a:pt x="14" y="7"/>
                      <a:pt x="14" y="7"/>
                    </a:cubicBezTo>
                    <a:cubicBezTo>
                      <a:pt x="19" y="10"/>
                      <a:pt x="22" y="16"/>
                      <a:pt x="22" y="22"/>
                    </a:cubicBezTo>
                    <a:cubicBezTo>
                      <a:pt x="22" y="32"/>
                      <a:pt x="13" y="40"/>
                      <a:pt x="3" y="40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20" y="55"/>
                      <a:pt x="36" y="73"/>
                      <a:pt x="26" y="99"/>
                    </a:cubicBezTo>
                    <a:cubicBezTo>
                      <a:pt x="24" y="104"/>
                      <a:pt x="22" y="109"/>
                      <a:pt x="18" y="114"/>
                    </a:cubicBezTo>
                    <a:cubicBezTo>
                      <a:pt x="27" y="117"/>
                      <a:pt x="36" y="123"/>
                      <a:pt x="43" y="132"/>
                    </a:cubicBezTo>
                    <a:cubicBezTo>
                      <a:pt x="55" y="125"/>
                      <a:pt x="64" y="113"/>
                      <a:pt x="69" y="100"/>
                    </a:cubicBezTo>
                    <a:cubicBezTo>
                      <a:pt x="82" y="62"/>
                      <a:pt x="60" y="19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28" name="Freeform 66">
                <a:extLst>
                  <a:ext uri="{FF2B5EF4-FFF2-40B4-BE49-F238E27FC236}">
                    <a16:creationId xmlns:a16="http://schemas.microsoft.com/office/drawing/2014/main" id="{F748E56A-02C0-49CE-AF7D-CFD77B5238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0746" y="2800284"/>
                <a:ext cx="187994" cy="189932"/>
              </a:xfrm>
              <a:custGeom>
                <a:avLst/>
                <a:gdLst>
                  <a:gd name="T0" fmla="*/ 64 w 64"/>
                  <a:gd name="T1" fmla="*/ 65 h 65"/>
                  <a:gd name="T2" fmla="*/ 16 w 64"/>
                  <a:gd name="T3" fmla="*/ 0 h 65"/>
                  <a:gd name="T4" fmla="*/ 0 w 64"/>
                  <a:gd name="T5" fmla="*/ 19 h 65"/>
                  <a:gd name="T6" fmla="*/ 0 w 64"/>
                  <a:gd name="T7" fmla="*/ 65 h 65"/>
                  <a:gd name="T8" fmla="*/ 64 w 64"/>
                  <a:gd name="T9" fmla="*/ 65 h 65"/>
                  <a:gd name="T10" fmla="*/ 17 w 64"/>
                  <a:gd name="T11" fmla="*/ 10 h 65"/>
                  <a:gd name="T12" fmla="*/ 25 w 64"/>
                  <a:gd name="T13" fmla="*/ 17 h 65"/>
                  <a:gd name="T14" fmla="*/ 17 w 64"/>
                  <a:gd name="T15" fmla="*/ 24 h 65"/>
                  <a:gd name="T16" fmla="*/ 10 w 64"/>
                  <a:gd name="T17" fmla="*/ 17 h 65"/>
                  <a:gd name="T18" fmla="*/ 17 w 64"/>
                  <a:gd name="T19" fmla="*/ 1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5">
                    <a:moveTo>
                      <a:pt x="64" y="65"/>
                    </a:moveTo>
                    <a:cubicBezTo>
                      <a:pt x="61" y="27"/>
                      <a:pt x="34" y="0"/>
                      <a:pt x="16" y="0"/>
                    </a:cubicBezTo>
                    <a:cubicBezTo>
                      <a:pt x="5" y="0"/>
                      <a:pt x="0" y="9"/>
                      <a:pt x="0" y="19"/>
                    </a:cubicBezTo>
                    <a:cubicBezTo>
                      <a:pt x="0" y="65"/>
                      <a:pt x="0" y="65"/>
                      <a:pt x="0" y="65"/>
                    </a:cubicBezTo>
                    <a:lnTo>
                      <a:pt x="64" y="65"/>
                    </a:lnTo>
                    <a:close/>
                    <a:moveTo>
                      <a:pt x="17" y="10"/>
                    </a:moveTo>
                    <a:cubicBezTo>
                      <a:pt x="21" y="10"/>
                      <a:pt x="25" y="13"/>
                      <a:pt x="25" y="17"/>
                    </a:cubicBezTo>
                    <a:cubicBezTo>
                      <a:pt x="25" y="21"/>
                      <a:pt x="21" y="24"/>
                      <a:pt x="17" y="24"/>
                    </a:cubicBezTo>
                    <a:cubicBezTo>
                      <a:pt x="13" y="24"/>
                      <a:pt x="10" y="21"/>
                      <a:pt x="10" y="17"/>
                    </a:cubicBezTo>
                    <a:cubicBezTo>
                      <a:pt x="10" y="13"/>
                      <a:pt x="13" y="10"/>
                      <a:pt x="17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06" name="Group 205">
              <a:extLst>
                <a:ext uri="{FF2B5EF4-FFF2-40B4-BE49-F238E27FC236}">
                  <a16:creationId xmlns:a16="http://schemas.microsoft.com/office/drawing/2014/main" id="{0098DF35-25A8-405E-A0C5-70F56DB54794}"/>
                </a:ext>
              </a:extLst>
            </p:cNvPr>
            <p:cNvGrpSpPr/>
            <p:nvPr userDrawn="1"/>
          </p:nvGrpSpPr>
          <p:grpSpPr>
            <a:xfrm>
              <a:off x="6509582" y="575413"/>
              <a:ext cx="234011" cy="329175"/>
              <a:chOff x="2370963" y="2220799"/>
              <a:chExt cx="581424" cy="817868"/>
            </a:xfrm>
            <a:solidFill>
              <a:srgbClr val="FFFFFF">
                <a:alpha val="26000"/>
              </a:srgbClr>
            </a:solidFill>
          </p:grpSpPr>
          <p:sp>
            <p:nvSpPr>
              <p:cNvPr id="311" name="Rectangle 58">
                <a:extLst>
                  <a:ext uri="{FF2B5EF4-FFF2-40B4-BE49-F238E27FC236}">
                    <a16:creationId xmlns:a16="http://schemas.microsoft.com/office/drawing/2014/main" id="{F1E19927-6C44-4316-8E16-0732B819B7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54300" y="3001844"/>
                <a:ext cx="474829" cy="3682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2" name="Freeform 59">
                <a:extLst>
                  <a:ext uri="{FF2B5EF4-FFF2-40B4-BE49-F238E27FC236}">
                    <a16:creationId xmlns:a16="http://schemas.microsoft.com/office/drawing/2014/main" id="{83CE7323-6032-48EE-8CA3-3D1DC2741F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4300" y="2278941"/>
                <a:ext cx="275207" cy="393430"/>
              </a:xfrm>
              <a:custGeom>
                <a:avLst/>
                <a:gdLst>
                  <a:gd name="T0" fmla="*/ 77 w 142"/>
                  <a:gd name="T1" fmla="*/ 203 h 203"/>
                  <a:gd name="T2" fmla="*/ 0 w 142"/>
                  <a:gd name="T3" fmla="*/ 174 h 203"/>
                  <a:gd name="T4" fmla="*/ 65 w 142"/>
                  <a:gd name="T5" fmla="*/ 0 h 203"/>
                  <a:gd name="T6" fmla="*/ 142 w 142"/>
                  <a:gd name="T7" fmla="*/ 28 h 203"/>
                  <a:gd name="T8" fmla="*/ 77 w 142"/>
                  <a:gd name="T9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203">
                    <a:moveTo>
                      <a:pt x="77" y="203"/>
                    </a:moveTo>
                    <a:lnTo>
                      <a:pt x="0" y="174"/>
                    </a:lnTo>
                    <a:lnTo>
                      <a:pt x="65" y="0"/>
                    </a:lnTo>
                    <a:lnTo>
                      <a:pt x="142" y="28"/>
                    </a:lnTo>
                    <a:lnTo>
                      <a:pt x="77" y="2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3" name="Freeform 60">
                <a:extLst>
                  <a:ext uri="{FF2B5EF4-FFF2-40B4-BE49-F238E27FC236}">
                    <a16:creationId xmlns:a16="http://schemas.microsoft.com/office/drawing/2014/main" id="{89095F0B-7AB9-4554-B8F9-935B1BAD47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5929" y="2682061"/>
                <a:ext cx="77523" cy="60080"/>
              </a:xfrm>
              <a:custGeom>
                <a:avLst/>
                <a:gdLst>
                  <a:gd name="T0" fmla="*/ 8 w 40"/>
                  <a:gd name="T1" fmla="*/ 0 h 31"/>
                  <a:gd name="T2" fmla="*/ 0 w 40"/>
                  <a:gd name="T3" fmla="*/ 19 h 31"/>
                  <a:gd name="T4" fmla="*/ 32 w 40"/>
                  <a:gd name="T5" fmla="*/ 31 h 31"/>
                  <a:gd name="T6" fmla="*/ 40 w 40"/>
                  <a:gd name="T7" fmla="*/ 12 h 31"/>
                  <a:gd name="T8" fmla="*/ 8 w 40"/>
                  <a:gd name="T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31">
                    <a:moveTo>
                      <a:pt x="8" y="0"/>
                    </a:moveTo>
                    <a:lnTo>
                      <a:pt x="0" y="19"/>
                    </a:lnTo>
                    <a:lnTo>
                      <a:pt x="32" y="31"/>
                    </a:lnTo>
                    <a:lnTo>
                      <a:pt x="40" y="1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4" name="Freeform 61">
                <a:extLst>
                  <a:ext uri="{FF2B5EF4-FFF2-40B4-BE49-F238E27FC236}">
                    <a16:creationId xmlns:a16="http://schemas.microsoft.com/office/drawing/2014/main" id="{D2CC33B1-8F4E-41DD-A1BA-F57EDE4474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5929" y="2641362"/>
                <a:ext cx="108532" cy="58142"/>
              </a:xfrm>
              <a:custGeom>
                <a:avLst/>
                <a:gdLst>
                  <a:gd name="T0" fmla="*/ 5 w 56"/>
                  <a:gd name="T1" fmla="*/ 0 h 30"/>
                  <a:gd name="T2" fmla="*/ 0 w 56"/>
                  <a:gd name="T3" fmla="*/ 10 h 30"/>
                  <a:gd name="T4" fmla="*/ 52 w 56"/>
                  <a:gd name="T5" fmla="*/ 30 h 30"/>
                  <a:gd name="T6" fmla="*/ 56 w 56"/>
                  <a:gd name="T7" fmla="*/ 18 h 30"/>
                  <a:gd name="T8" fmla="*/ 5 w 56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30">
                    <a:moveTo>
                      <a:pt x="5" y="0"/>
                    </a:moveTo>
                    <a:lnTo>
                      <a:pt x="0" y="10"/>
                    </a:lnTo>
                    <a:lnTo>
                      <a:pt x="52" y="30"/>
                    </a:lnTo>
                    <a:lnTo>
                      <a:pt x="56" y="18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5" name="Freeform 62">
                <a:extLst>
                  <a:ext uri="{FF2B5EF4-FFF2-40B4-BE49-F238E27FC236}">
                    <a16:creationId xmlns:a16="http://schemas.microsoft.com/office/drawing/2014/main" id="{4443698B-EA6C-453A-91A8-D92481C19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0975" y="2220799"/>
                <a:ext cx="100780" cy="87214"/>
              </a:xfrm>
              <a:custGeom>
                <a:avLst/>
                <a:gdLst>
                  <a:gd name="T0" fmla="*/ 40 w 52"/>
                  <a:gd name="T1" fmla="*/ 45 h 45"/>
                  <a:gd name="T2" fmla="*/ 52 w 52"/>
                  <a:gd name="T3" fmla="*/ 15 h 45"/>
                  <a:gd name="T4" fmla="*/ 12 w 52"/>
                  <a:gd name="T5" fmla="*/ 0 h 45"/>
                  <a:gd name="T6" fmla="*/ 0 w 52"/>
                  <a:gd name="T7" fmla="*/ 30 h 45"/>
                  <a:gd name="T8" fmla="*/ 40 w 52"/>
                  <a:gd name="T9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45">
                    <a:moveTo>
                      <a:pt x="40" y="45"/>
                    </a:moveTo>
                    <a:lnTo>
                      <a:pt x="52" y="15"/>
                    </a:lnTo>
                    <a:lnTo>
                      <a:pt x="12" y="0"/>
                    </a:lnTo>
                    <a:lnTo>
                      <a:pt x="0" y="30"/>
                    </a:lnTo>
                    <a:lnTo>
                      <a:pt x="40" y="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6" name="Freeform 63">
                <a:extLst>
                  <a:ext uri="{FF2B5EF4-FFF2-40B4-BE49-F238E27FC236}">
                    <a16:creationId xmlns:a16="http://schemas.microsoft.com/office/drawing/2014/main" id="{E201FD75-85B7-4743-A3B1-3B148BC557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50046" y="2412669"/>
                <a:ext cx="112409" cy="195746"/>
              </a:xfrm>
              <a:custGeom>
                <a:avLst/>
                <a:gdLst>
                  <a:gd name="T0" fmla="*/ 29 w 38"/>
                  <a:gd name="T1" fmla="*/ 25 h 67"/>
                  <a:gd name="T2" fmla="*/ 37 w 38"/>
                  <a:gd name="T3" fmla="*/ 6 h 67"/>
                  <a:gd name="T4" fmla="*/ 22 w 38"/>
                  <a:gd name="T5" fmla="*/ 0 h 67"/>
                  <a:gd name="T6" fmla="*/ 0 w 38"/>
                  <a:gd name="T7" fmla="*/ 61 h 67"/>
                  <a:gd name="T8" fmla="*/ 14 w 38"/>
                  <a:gd name="T9" fmla="*/ 67 h 67"/>
                  <a:gd name="T10" fmla="*/ 20 w 38"/>
                  <a:gd name="T11" fmla="*/ 50 h 67"/>
                  <a:gd name="T12" fmla="*/ 24 w 38"/>
                  <a:gd name="T13" fmla="*/ 51 h 67"/>
                  <a:gd name="T14" fmla="*/ 38 w 38"/>
                  <a:gd name="T15" fmla="*/ 38 h 67"/>
                  <a:gd name="T16" fmla="*/ 29 w 38"/>
                  <a:gd name="T17" fmla="*/ 25 h 67"/>
                  <a:gd name="T18" fmla="*/ 24 w 38"/>
                  <a:gd name="T19" fmla="*/ 45 h 67"/>
                  <a:gd name="T20" fmla="*/ 17 w 38"/>
                  <a:gd name="T21" fmla="*/ 38 h 67"/>
                  <a:gd name="T22" fmla="*/ 24 w 38"/>
                  <a:gd name="T23" fmla="*/ 30 h 67"/>
                  <a:gd name="T24" fmla="*/ 32 w 38"/>
                  <a:gd name="T25" fmla="*/ 38 h 67"/>
                  <a:gd name="T26" fmla="*/ 24 w 38"/>
                  <a:gd name="T27" fmla="*/ 4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67">
                    <a:moveTo>
                      <a:pt x="29" y="25"/>
                    </a:moveTo>
                    <a:cubicBezTo>
                      <a:pt x="37" y="6"/>
                      <a:pt x="37" y="6"/>
                      <a:pt x="37" y="6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14" y="67"/>
                      <a:pt x="14" y="67"/>
                      <a:pt x="14" y="67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21" y="51"/>
                      <a:pt x="23" y="51"/>
                      <a:pt x="24" y="51"/>
                    </a:cubicBezTo>
                    <a:cubicBezTo>
                      <a:pt x="32" y="51"/>
                      <a:pt x="38" y="45"/>
                      <a:pt x="38" y="38"/>
                    </a:cubicBezTo>
                    <a:cubicBezTo>
                      <a:pt x="38" y="32"/>
                      <a:pt x="34" y="27"/>
                      <a:pt x="29" y="25"/>
                    </a:cubicBezTo>
                    <a:close/>
                    <a:moveTo>
                      <a:pt x="24" y="45"/>
                    </a:moveTo>
                    <a:cubicBezTo>
                      <a:pt x="20" y="45"/>
                      <a:pt x="17" y="42"/>
                      <a:pt x="17" y="38"/>
                    </a:cubicBezTo>
                    <a:cubicBezTo>
                      <a:pt x="17" y="34"/>
                      <a:pt x="20" y="30"/>
                      <a:pt x="24" y="30"/>
                    </a:cubicBezTo>
                    <a:cubicBezTo>
                      <a:pt x="28" y="30"/>
                      <a:pt x="32" y="34"/>
                      <a:pt x="32" y="38"/>
                    </a:cubicBezTo>
                    <a:cubicBezTo>
                      <a:pt x="32" y="42"/>
                      <a:pt x="28" y="45"/>
                      <a:pt x="24" y="4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7" name="Freeform 64">
                <a:extLst>
                  <a:ext uri="{FF2B5EF4-FFF2-40B4-BE49-F238E27FC236}">
                    <a16:creationId xmlns:a16="http://schemas.microsoft.com/office/drawing/2014/main" id="{D66D4AE7-CD76-44E0-8BBD-3A2358EAEE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963" y="2736328"/>
                <a:ext cx="306216" cy="149232"/>
              </a:xfrm>
              <a:custGeom>
                <a:avLst/>
                <a:gdLst>
                  <a:gd name="T0" fmla="*/ 105 w 105"/>
                  <a:gd name="T1" fmla="*/ 51 h 51"/>
                  <a:gd name="T2" fmla="*/ 105 w 105"/>
                  <a:gd name="T3" fmla="*/ 41 h 51"/>
                  <a:gd name="T4" fmla="*/ 105 w 105"/>
                  <a:gd name="T5" fmla="*/ 36 h 51"/>
                  <a:gd name="T6" fmla="*/ 70 w 105"/>
                  <a:gd name="T7" fmla="*/ 33 h 51"/>
                  <a:gd name="T8" fmla="*/ 73 w 105"/>
                  <a:gd name="T9" fmla="*/ 26 h 51"/>
                  <a:gd name="T10" fmla="*/ 3 w 105"/>
                  <a:gd name="T11" fmla="*/ 0 h 51"/>
                  <a:gd name="T12" fmla="*/ 0 w 105"/>
                  <a:gd name="T13" fmla="*/ 10 h 51"/>
                  <a:gd name="T14" fmla="*/ 58 w 105"/>
                  <a:gd name="T15" fmla="*/ 32 h 51"/>
                  <a:gd name="T16" fmla="*/ 55 w 105"/>
                  <a:gd name="T17" fmla="*/ 40 h 51"/>
                  <a:gd name="T18" fmla="*/ 105 w 105"/>
                  <a:gd name="T19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5" h="51">
                    <a:moveTo>
                      <a:pt x="105" y="51"/>
                    </a:moveTo>
                    <a:cubicBezTo>
                      <a:pt x="105" y="41"/>
                      <a:pt x="105" y="41"/>
                      <a:pt x="105" y="41"/>
                    </a:cubicBezTo>
                    <a:cubicBezTo>
                      <a:pt x="105" y="39"/>
                      <a:pt x="105" y="38"/>
                      <a:pt x="105" y="36"/>
                    </a:cubicBezTo>
                    <a:cubicBezTo>
                      <a:pt x="95" y="38"/>
                      <a:pt x="84" y="37"/>
                      <a:pt x="70" y="33"/>
                    </a:cubicBezTo>
                    <a:cubicBezTo>
                      <a:pt x="73" y="26"/>
                      <a:pt x="73" y="26"/>
                      <a:pt x="73" y="26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58" y="32"/>
                      <a:pt x="58" y="32"/>
                      <a:pt x="58" y="32"/>
                    </a:cubicBezTo>
                    <a:cubicBezTo>
                      <a:pt x="55" y="40"/>
                      <a:pt x="55" y="40"/>
                      <a:pt x="55" y="40"/>
                    </a:cubicBezTo>
                    <a:cubicBezTo>
                      <a:pt x="73" y="47"/>
                      <a:pt x="90" y="50"/>
                      <a:pt x="105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8" name="Freeform 65">
                <a:extLst>
                  <a:ext uri="{FF2B5EF4-FFF2-40B4-BE49-F238E27FC236}">
                    <a16:creationId xmlns:a16="http://schemas.microsoft.com/office/drawing/2014/main" id="{36571A25-2AAB-4043-A59C-CF30710C2B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2065" y="2459183"/>
                <a:ext cx="240322" cy="385678"/>
              </a:xfrm>
              <a:custGeom>
                <a:avLst/>
                <a:gdLst>
                  <a:gd name="T0" fmla="*/ 17 w 82"/>
                  <a:gd name="T1" fmla="*/ 0 h 132"/>
                  <a:gd name="T2" fmla="*/ 14 w 82"/>
                  <a:gd name="T3" fmla="*/ 7 h 132"/>
                  <a:gd name="T4" fmla="*/ 22 w 82"/>
                  <a:gd name="T5" fmla="*/ 22 h 132"/>
                  <a:gd name="T6" fmla="*/ 3 w 82"/>
                  <a:gd name="T7" fmla="*/ 40 h 132"/>
                  <a:gd name="T8" fmla="*/ 2 w 82"/>
                  <a:gd name="T9" fmla="*/ 40 h 132"/>
                  <a:gd name="T10" fmla="*/ 0 w 82"/>
                  <a:gd name="T11" fmla="*/ 46 h 132"/>
                  <a:gd name="T12" fmla="*/ 26 w 82"/>
                  <a:gd name="T13" fmla="*/ 99 h 132"/>
                  <a:gd name="T14" fmla="*/ 18 w 82"/>
                  <a:gd name="T15" fmla="*/ 114 h 132"/>
                  <a:gd name="T16" fmla="*/ 43 w 82"/>
                  <a:gd name="T17" fmla="*/ 132 h 132"/>
                  <a:gd name="T18" fmla="*/ 69 w 82"/>
                  <a:gd name="T19" fmla="*/ 100 h 132"/>
                  <a:gd name="T20" fmla="*/ 17 w 82"/>
                  <a:gd name="T21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2" h="132">
                    <a:moveTo>
                      <a:pt x="17" y="0"/>
                    </a:moveTo>
                    <a:cubicBezTo>
                      <a:pt x="14" y="7"/>
                      <a:pt x="14" y="7"/>
                      <a:pt x="14" y="7"/>
                    </a:cubicBezTo>
                    <a:cubicBezTo>
                      <a:pt x="19" y="10"/>
                      <a:pt x="22" y="16"/>
                      <a:pt x="22" y="22"/>
                    </a:cubicBezTo>
                    <a:cubicBezTo>
                      <a:pt x="22" y="32"/>
                      <a:pt x="13" y="40"/>
                      <a:pt x="3" y="40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20" y="55"/>
                      <a:pt x="36" y="73"/>
                      <a:pt x="26" y="99"/>
                    </a:cubicBezTo>
                    <a:cubicBezTo>
                      <a:pt x="24" y="104"/>
                      <a:pt x="22" y="109"/>
                      <a:pt x="18" y="114"/>
                    </a:cubicBezTo>
                    <a:cubicBezTo>
                      <a:pt x="27" y="117"/>
                      <a:pt x="36" y="123"/>
                      <a:pt x="43" y="132"/>
                    </a:cubicBezTo>
                    <a:cubicBezTo>
                      <a:pt x="55" y="125"/>
                      <a:pt x="64" y="113"/>
                      <a:pt x="69" y="100"/>
                    </a:cubicBezTo>
                    <a:cubicBezTo>
                      <a:pt x="82" y="62"/>
                      <a:pt x="60" y="19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9" name="Freeform 66">
                <a:extLst>
                  <a:ext uri="{FF2B5EF4-FFF2-40B4-BE49-F238E27FC236}">
                    <a16:creationId xmlns:a16="http://schemas.microsoft.com/office/drawing/2014/main" id="{3991C0A6-92BB-4DAA-BFE2-65DAF47EEE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0746" y="2800284"/>
                <a:ext cx="187994" cy="189932"/>
              </a:xfrm>
              <a:custGeom>
                <a:avLst/>
                <a:gdLst>
                  <a:gd name="T0" fmla="*/ 64 w 64"/>
                  <a:gd name="T1" fmla="*/ 65 h 65"/>
                  <a:gd name="T2" fmla="*/ 16 w 64"/>
                  <a:gd name="T3" fmla="*/ 0 h 65"/>
                  <a:gd name="T4" fmla="*/ 0 w 64"/>
                  <a:gd name="T5" fmla="*/ 19 h 65"/>
                  <a:gd name="T6" fmla="*/ 0 w 64"/>
                  <a:gd name="T7" fmla="*/ 65 h 65"/>
                  <a:gd name="T8" fmla="*/ 64 w 64"/>
                  <a:gd name="T9" fmla="*/ 65 h 65"/>
                  <a:gd name="T10" fmla="*/ 17 w 64"/>
                  <a:gd name="T11" fmla="*/ 10 h 65"/>
                  <a:gd name="T12" fmla="*/ 25 w 64"/>
                  <a:gd name="T13" fmla="*/ 17 h 65"/>
                  <a:gd name="T14" fmla="*/ 17 w 64"/>
                  <a:gd name="T15" fmla="*/ 24 h 65"/>
                  <a:gd name="T16" fmla="*/ 10 w 64"/>
                  <a:gd name="T17" fmla="*/ 17 h 65"/>
                  <a:gd name="T18" fmla="*/ 17 w 64"/>
                  <a:gd name="T19" fmla="*/ 1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65">
                    <a:moveTo>
                      <a:pt x="64" y="65"/>
                    </a:moveTo>
                    <a:cubicBezTo>
                      <a:pt x="61" y="27"/>
                      <a:pt x="34" y="0"/>
                      <a:pt x="16" y="0"/>
                    </a:cubicBezTo>
                    <a:cubicBezTo>
                      <a:pt x="5" y="0"/>
                      <a:pt x="0" y="9"/>
                      <a:pt x="0" y="19"/>
                    </a:cubicBezTo>
                    <a:cubicBezTo>
                      <a:pt x="0" y="65"/>
                      <a:pt x="0" y="65"/>
                      <a:pt x="0" y="65"/>
                    </a:cubicBezTo>
                    <a:lnTo>
                      <a:pt x="64" y="65"/>
                    </a:lnTo>
                    <a:close/>
                    <a:moveTo>
                      <a:pt x="17" y="10"/>
                    </a:moveTo>
                    <a:cubicBezTo>
                      <a:pt x="21" y="10"/>
                      <a:pt x="25" y="13"/>
                      <a:pt x="25" y="17"/>
                    </a:cubicBezTo>
                    <a:cubicBezTo>
                      <a:pt x="25" y="21"/>
                      <a:pt x="21" y="24"/>
                      <a:pt x="17" y="24"/>
                    </a:cubicBezTo>
                    <a:cubicBezTo>
                      <a:pt x="13" y="24"/>
                      <a:pt x="10" y="21"/>
                      <a:pt x="10" y="17"/>
                    </a:cubicBezTo>
                    <a:cubicBezTo>
                      <a:pt x="10" y="13"/>
                      <a:pt x="13" y="10"/>
                      <a:pt x="17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07" name="Group 206">
              <a:extLst>
                <a:ext uri="{FF2B5EF4-FFF2-40B4-BE49-F238E27FC236}">
                  <a16:creationId xmlns:a16="http://schemas.microsoft.com/office/drawing/2014/main" id="{CB943D87-0094-4CE6-A058-9C9A9D650400}"/>
                </a:ext>
              </a:extLst>
            </p:cNvPr>
            <p:cNvGrpSpPr/>
            <p:nvPr userDrawn="1"/>
          </p:nvGrpSpPr>
          <p:grpSpPr>
            <a:xfrm>
              <a:off x="4075920" y="1374980"/>
              <a:ext cx="383372" cy="352926"/>
              <a:chOff x="2019301" y="4184651"/>
              <a:chExt cx="979488" cy="901700"/>
            </a:xfrm>
            <a:solidFill>
              <a:srgbClr val="FFFFFF">
                <a:alpha val="22000"/>
              </a:srgbClr>
            </a:solidFill>
          </p:grpSpPr>
          <p:sp>
            <p:nvSpPr>
              <p:cNvPr id="304" name="Freeform 152">
                <a:extLst>
                  <a:ext uri="{FF2B5EF4-FFF2-40B4-BE49-F238E27FC236}">
                    <a16:creationId xmlns:a16="http://schemas.microsoft.com/office/drawing/2014/main" id="{71F3BD7F-A264-4433-9792-1F50780446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8051" y="4256088"/>
                <a:ext cx="639763" cy="192088"/>
              </a:xfrm>
              <a:custGeom>
                <a:avLst/>
                <a:gdLst>
                  <a:gd name="T0" fmla="*/ 437 w 437"/>
                  <a:gd name="T1" fmla="*/ 0 h 132"/>
                  <a:gd name="T2" fmla="*/ 437 w 437"/>
                  <a:gd name="T3" fmla="*/ 132 h 132"/>
                  <a:gd name="T4" fmla="*/ 189 w 437"/>
                  <a:gd name="T5" fmla="*/ 132 h 132"/>
                  <a:gd name="T6" fmla="*/ 189 w 437"/>
                  <a:gd name="T7" fmla="*/ 36 h 132"/>
                  <a:gd name="T8" fmla="*/ 0 w 437"/>
                  <a:gd name="T9" fmla="*/ 36 h 132"/>
                  <a:gd name="T10" fmla="*/ 0 w 437"/>
                  <a:gd name="T11" fmla="*/ 21 h 132"/>
                  <a:gd name="T12" fmla="*/ 7 w 437"/>
                  <a:gd name="T13" fmla="*/ 2 h 132"/>
                  <a:gd name="T14" fmla="*/ 8 w 437"/>
                  <a:gd name="T15" fmla="*/ 0 h 132"/>
                  <a:gd name="T16" fmla="*/ 383 w 437"/>
                  <a:gd name="T17" fmla="*/ 0 h 132"/>
                  <a:gd name="T18" fmla="*/ 437 w 437"/>
                  <a:gd name="T19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7" h="132">
                    <a:moveTo>
                      <a:pt x="437" y="0"/>
                    </a:moveTo>
                    <a:cubicBezTo>
                      <a:pt x="437" y="132"/>
                      <a:pt x="437" y="132"/>
                      <a:pt x="437" y="132"/>
                    </a:cubicBezTo>
                    <a:cubicBezTo>
                      <a:pt x="189" y="132"/>
                      <a:pt x="189" y="132"/>
                      <a:pt x="189" y="132"/>
                    </a:cubicBezTo>
                    <a:cubicBezTo>
                      <a:pt x="189" y="36"/>
                      <a:pt x="189" y="36"/>
                      <a:pt x="189" y="36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1"/>
                      <a:pt x="0" y="26"/>
                      <a:pt x="0" y="21"/>
                    </a:cubicBezTo>
                    <a:cubicBezTo>
                      <a:pt x="0" y="14"/>
                      <a:pt x="4" y="6"/>
                      <a:pt x="7" y="2"/>
                    </a:cubicBezTo>
                    <a:cubicBezTo>
                      <a:pt x="7" y="1"/>
                      <a:pt x="8" y="0"/>
                      <a:pt x="8" y="0"/>
                    </a:cubicBezTo>
                    <a:cubicBezTo>
                      <a:pt x="383" y="0"/>
                      <a:pt x="383" y="0"/>
                      <a:pt x="383" y="0"/>
                    </a:cubicBezTo>
                    <a:lnTo>
                      <a:pt x="43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5" name="Freeform 153">
                <a:extLst>
                  <a:ext uri="{FF2B5EF4-FFF2-40B4-BE49-F238E27FC236}">
                    <a16:creationId xmlns:a16="http://schemas.microsoft.com/office/drawing/2014/main" id="{94EF63D5-7F81-4416-A057-9B6AB22AB8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5901" y="4535488"/>
                <a:ext cx="169863" cy="263525"/>
              </a:xfrm>
              <a:custGeom>
                <a:avLst/>
                <a:gdLst>
                  <a:gd name="T0" fmla="*/ 28 w 116"/>
                  <a:gd name="T1" fmla="*/ 9 h 180"/>
                  <a:gd name="T2" fmla="*/ 58 w 116"/>
                  <a:gd name="T3" fmla="*/ 0 h 180"/>
                  <a:gd name="T4" fmla="*/ 88 w 116"/>
                  <a:gd name="T5" fmla="*/ 9 h 180"/>
                  <a:gd name="T6" fmla="*/ 106 w 116"/>
                  <a:gd name="T7" fmla="*/ 35 h 180"/>
                  <a:gd name="T8" fmla="*/ 109 w 116"/>
                  <a:gd name="T9" fmla="*/ 50 h 180"/>
                  <a:gd name="T10" fmla="*/ 109 w 116"/>
                  <a:gd name="T11" fmla="*/ 70 h 180"/>
                  <a:gd name="T12" fmla="*/ 109 w 116"/>
                  <a:gd name="T13" fmla="*/ 109 h 180"/>
                  <a:gd name="T14" fmla="*/ 116 w 116"/>
                  <a:gd name="T15" fmla="*/ 114 h 180"/>
                  <a:gd name="T16" fmla="*/ 116 w 116"/>
                  <a:gd name="T17" fmla="*/ 153 h 180"/>
                  <a:gd name="T18" fmla="*/ 116 w 116"/>
                  <a:gd name="T19" fmla="*/ 154 h 180"/>
                  <a:gd name="T20" fmla="*/ 115 w 116"/>
                  <a:gd name="T21" fmla="*/ 155 h 180"/>
                  <a:gd name="T22" fmla="*/ 114 w 116"/>
                  <a:gd name="T23" fmla="*/ 158 h 180"/>
                  <a:gd name="T24" fmla="*/ 110 w 116"/>
                  <a:gd name="T25" fmla="*/ 163 h 180"/>
                  <a:gd name="T26" fmla="*/ 99 w 116"/>
                  <a:gd name="T27" fmla="*/ 170 h 180"/>
                  <a:gd name="T28" fmla="*/ 90 w 116"/>
                  <a:gd name="T29" fmla="*/ 173 h 180"/>
                  <a:gd name="T30" fmla="*/ 82 w 116"/>
                  <a:gd name="T31" fmla="*/ 170 h 180"/>
                  <a:gd name="T32" fmla="*/ 72 w 116"/>
                  <a:gd name="T33" fmla="*/ 170 h 180"/>
                  <a:gd name="T34" fmla="*/ 61 w 116"/>
                  <a:gd name="T35" fmla="*/ 180 h 180"/>
                  <a:gd name="T36" fmla="*/ 55 w 116"/>
                  <a:gd name="T37" fmla="*/ 180 h 180"/>
                  <a:gd name="T38" fmla="*/ 55 w 116"/>
                  <a:gd name="T39" fmla="*/ 180 h 180"/>
                  <a:gd name="T40" fmla="*/ 44 w 116"/>
                  <a:gd name="T41" fmla="*/ 169 h 180"/>
                  <a:gd name="T42" fmla="*/ 34 w 116"/>
                  <a:gd name="T43" fmla="*/ 169 h 180"/>
                  <a:gd name="T44" fmla="*/ 26 w 116"/>
                  <a:gd name="T45" fmla="*/ 173 h 180"/>
                  <a:gd name="T46" fmla="*/ 17 w 116"/>
                  <a:gd name="T47" fmla="*/ 170 h 180"/>
                  <a:gd name="T48" fmla="*/ 5 w 116"/>
                  <a:gd name="T49" fmla="*/ 163 h 180"/>
                  <a:gd name="T50" fmla="*/ 2 w 116"/>
                  <a:gd name="T51" fmla="*/ 158 h 180"/>
                  <a:gd name="T52" fmla="*/ 0 w 116"/>
                  <a:gd name="T53" fmla="*/ 155 h 180"/>
                  <a:gd name="T54" fmla="*/ 0 w 116"/>
                  <a:gd name="T55" fmla="*/ 154 h 180"/>
                  <a:gd name="T56" fmla="*/ 0 w 116"/>
                  <a:gd name="T57" fmla="*/ 153 h 180"/>
                  <a:gd name="T58" fmla="*/ 0 w 116"/>
                  <a:gd name="T59" fmla="*/ 114 h 180"/>
                  <a:gd name="T60" fmla="*/ 7 w 116"/>
                  <a:gd name="T61" fmla="*/ 109 h 180"/>
                  <a:gd name="T62" fmla="*/ 7 w 116"/>
                  <a:gd name="T63" fmla="*/ 70 h 180"/>
                  <a:gd name="T64" fmla="*/ 7 w 116"/>
                  <a:gd name="T65" fmla="*/ 50 h 180"/>
                  <a:gd name="T66" fmla="*/ 9 w 116"/>
                  <a:gd name="T67" fmla="*/ 35 h 180"/>
                  <a:gd name="T68" fmla="*/ 28 w 116"/>
                  <a:gd name="T69" fmla="*/ 9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6" h="180">
                    <a:moveTo>
                      <a:pt x="28" y="9"/>
                    </a:moveTo>
                    <a:cubicBezTo>
                      <a:pt x="37" y="3"/>
                      <a:pt x="47" y="0"/>
                      <a:pt x="58" y="0"/>
                    </a:cubicBezTo>
                    <a:cubicBezTo>
                      <a:pt x="69" y="0"/>
                      <a:pt x="79" y="3"/>
                      <a:pt x="88" y="9"/>
                    </a:cubicBezTo>
                    <a:cubicBezTo>
                      <a:pt x="96" y="16"/>
                      <a:pt x="103" y="25"/>
                      <a:pt x="106" y="35"/>
                    </a:cubicBezTo>
                    <a:cubicBezTo>
                      <a:pt x="108" y="40"/>
                      <a:pt x="109" y="45"/>
                      <a:pt x="109" y="50"/>
                    </a:cubicBezTo>
                    <a:cubicBezTo>
                      <a:pt x="109" y="70"/>
                      <a:pt x="109" y="70"/>
                      <a:pt x="109" y="70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9" y="111"/>
                      <a:pt x="112" y="113"/>
                      <a:pt x="116" y="114"/>
                    </a:cubicBezTo>
                    <a:cubicBezTo>
                      <a:pt x="116" y="153"/>
                      <a:pt x="116" y="153"/>
                      <a:pt x="116" y="153"/>
                    </a:cubicBezTo>
                    <a:cubicBezTo>
                      <a:pt x="116" y="154"/>
                      <a:pt x="116" y="154"/>
                      <a:pt x="116" y="154"/>
                    </a:cubicBezTo>
                    <a:cubicBezTo>
                      <a:pt x="115" y="155"/>
                      <a:pt x="115" y="155"/>
                      <a:pt x="115" y="155"/>
                    </a:cubicBezTo>
                    <a:cubicBezTo>
                      <a:pt x="115" y="156"/>
                      <a:pt x="114" y="157"/>
                      <a:pt x="114" y="158"/>
                    </a:cubicBezTo>
                    <a:cubicBezTo>
                      <a:pt x="113" y="160"/>
                      <a:pt x="112" y="162"/>
                      <a:pt x="110" y="163"/>
                    </a:cubicBezTo>
                    <a:cubicBezTo>
                      <a:pt x="107" y="166"/>
                      <a:pt x="103" y="169"/>
                      <a:pt x="99" y="170"/>
                    </a:cubicBezTo>
                    <a:cubicBezTo>
                      <a:pt x="96" y="172"/>
                      <a:pt x="93" y="172"/>
                      <a:pt x="90" y="173"/>
                    </a:cubicBezTo>
                    <a:cubicBezTo>
                      <a:pt x="88" y="171"/>
                      <a:pt x="85" y="170"/>
                      <a:pt x="82" y="170"/>
                    </a:cubicBezTo>
                    <a:cubicBezTo>
                      <a:pt x="72" y="170"/>
                      <a:pt x="72" y="170"/>
                      <a:pt x="72" y="170"/>
                    </a:cubicBezTo>
                    <a:cubicBezTo>
                      <a:pt x="66" y="170"/>
                      <a:pt x="61" y="175"/>
                      <a:pt x="61" y="180"/>
                    </a:cubicBezTo>
                    <a:cubicBezTo>
                      <a:pt x="55" y="180"/>
                      <a:pt x="55" y="180"/>
                      <a:pt x="55" y="180"/>
                    </a:cubicBezTo>
                    <a:cubicBezTo>
                      <a:pt x="55" y="180"/>
                      <a:pt x="55" y="180"/>
                      <a:pt x="55" y="180"/>
                    </a:cubicBezTo>
                    <a:cubicBezTo>
                      <a:pt x="55" y="174"/>
                      <a:pt x="50" y="169"/>
                      <a:pt x="44" y="169"/>
                    </a:cubicBezTo>
                    <a:cubicBezTo>
                      <a:pt x="34" y="169"/>
                      <a:pt x="34" y="169"/>
                      <a:pt x="34" y="169"/>
                    </a:cubicBezTo>
                    <a:cubicBezTo>
                      <a:pt x="30" y="169"/>
                      <a:pt x="28" y="171"/>
                      <a:pt x="26" y="173"/>
                    </a:cubicBezTo>
                    <a:cubicBezTo>
                      <a:pt x="23" y="172"/>
                      <a:pt x="20" y="171"/>
                      <a:pt x="17" y="170"/>
                    </a:cubicBezTo>
                    <a:cubicBezTo>
                      <a:pt x="12" y="168"/>
                      <a:pt x="8" y="166"/>
                      <a:pt x="5" y="163"/>
                    </a:cubicBezTo>
                    <a:cubicBezTo>
                      <a:pt x="4" y="161"/>
                      <a:pt x="3" y="159"/>
                      <a:pt x="2" y="158"/>
                    </a:cubicBezTo>
                    <a:cubicBezTo>
                      <a:pt x="1" y="157"/>
                      <a:pt x="1" y="156"/>
                      <a:pt x="0" y="155"/>
                    </a:cubicBezTo>
                    <a:cubicBezTo>
                      <a:pt x="0" y="154"/>
                      <a:pt x="0" y="154"/>
                      <a:pt x="0" y="154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14"/>
                      <a:pt x="0" y="114"/>
                      <a:pt x="0" y="114"/>
                    </a:cubicBezTo>
                    <a:cubicBezTo>
                      <a:pt x="4" y="113"/>
                      <a:pt x="7" y="111"/>
                      <a:pt x="7" y="109"/>
                    </a:cubicBezTo>
                    <a:cubicBezTo>
                      <a:pt x="7" y="70"/>
                      <a:pt x="7" y="70"/>
                      <a:pt x="7" y="70"/>
                    </a:cubicBezTo>
                    <a:cubicBezTo>
                      <a:pt x="7" y="50"/>
                      <a:pt x="7" y="50"/>
                      <a:pt x="7" y="50"/>
                    </a:cubicBezTo>
                    <a:cubicBezTo>
                      <a:pt x="7" y="45"/>
                      <a:pt x="8" y="40"/>
                      <a:pt x="9" y="35"/>
                    </a:cubicBezTo>
                    <a:cubicBezTo>
                      <a:pt x="13" y="25"/>
                      <a:pt x="19" y="16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6" name="Freeform 154">
                <a:extLst>
                  <a:ext uri="{FF2B5EF4-FFF2-40B4-BE49-F238E27FC236}">
                    <a16:creationId xmlns:a16="http://schemas.microsoft.com/office/drawing/2014/main" id="{2645DF8B-4444-4424-B12C-87DFBC0BC5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8439" y="4184651"/>
                <a:ext cx="109538" cy="298450"/>
              </a:xfrm>
              <a:custGeom>
                <a:avLst/>
                <a:gdLst>
                  <a:gd name="T0" fmla="*/ 18 w 75"/>
                  <a:gd name="T1" fmla="*/ 7 h 203"/>
                  <a:gd name="T2" fmla="*/ 55 w 75"/>
                  <a:gd name="T3" fmla="*/ 6 h 203"/>
                  <a:gd name="T4" fmla="*/ 75 w 75"/>
                  <a:gd name="T5" fmla="*/ 37 h 203"/>
                  <a:gd name="T6" fmla="*/ 75 w 75"/>
                  <a:gd name="T7" fmla="*/ 70 h 203"/>
                  <a:gd name="T8" fmla="*/ 75 w 75"/>
                  <a:gd name="T9" fmla="*/ 203 h 203"/>
                  <a:gd name="T10" fmla="*/ 65 w 75"/>
                  <a:gd name="T11" fmla="*/ 203 h 203"/>
                  <a:gd name="T12" fmla="*/ 65 w 75"/>
                  <a:gd name="T13" fmla="*/ 70 h 203"/>
                  <a:gd name="T14" fmla="*/ 65 w 75"/>
                  <a:gd name="T15" fmla="*/ 37 h 203"/>
                  <a:gd name="T16" fmla="*/ 50 w 75"/>
                  <a:gd name="T17" fmla="*/ 15 h 203"/>
                  <a:gd name="T18" fmla="*/ 24 w 75"/>
                  <a:gd name="T19" fmla="*/ 16 h 203"/>
                  <a:gd name="T20" fmla="*/ 11 w 75"/>
                  <a:gd name="T21" fmla="*/ 39 h 203"/>
                  <a:gd name="T22" fmla="*/ 0 w 75"/>
                  <a:gd name="T23" fmla="*/ 39 h 203"/>
                  <a:gd name="T24" fmla="*/ 18 w 75"/>
                  <a:gd name="T25" fmla="*/ 7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5" h="203">
                    <a:moveTo>
                      <a:pt x="18" y="7"/>
                    </a:moveTo>
                    <a:cubicBezTo>
                      <a:pt x="30" y="0"/>
                      <a:pt x="44" y="0"/>
                      <a:pt x="55" y="6"/>
                    </a:cubicBezTo>
                    <a:cubicBezTo>
                      <a:pt x="67" y="12"/>
                      <a:pt x="75" y="24"/>
                      <a:pt x="75" y="37"/>
                    </a:cubicBezTo>
                    <a:cubicBezTo>
                      <a:pt x="75" y="70"/>
                      <a:pt x="75" y="70"/>
                      <a:pt x="75" y="70"/>
                    </a:cubicBezTo>
                    <a:cubicBezTo>
                      <a:pt x="75" y="203"/>
                      <a:pt x="75" y="203"/>
                      <a:pt x="75" y="203"/>
                    </a:cubicBezTo>
                    <a:cubicBezTo>
                      <a:pt x="65" y="203"/>
                      <a:pt x="65" y="203"/>
                      <a:pt x="65" y="203"/>
                    </a:cubicBezTo>
                    <a:cubicBezTo>
                      <a:pt x="65" y="70"/>
                      <a:pt x="65" y="70"/>
                      <a:pt x="65" y="70"/>
                    </a:cubicBezTo>
                    <a:cubicBezTo>
                      <a:pt x="65" y="37"/>
                      <a:pt x="65" y="37"/>
                      <a:pt x="65" y="37"/>
                    </a:cubicBezTo>
                    <a:cubicBezTo>
                      <a:pt x="64" y="28"/>
                      <a:pt x="59" y="19"/>
                      <a:pt x="50" y="15"/>
                    </a:cubicBezTo>
                    <a:cubicBezTo>
                      <a:pt x="42" y="10"/>
                      <a:pt x="32" y="11"/>
                      <a:pt x="24" y="16"/>
                    </a:cubicBezTo>
                    <a:cubicBezTo>
                      <a:pt x="16" y="20"/>
                      <a:pt x="11" y="29"/>
                      <a:pt x="11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26"/>
                      <a:pt x="7" y="13"/>
                      <a:pt x="18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7" name="Rectangle 155">
                <a:extLst>
                  <a:ext uri="{FF2B5EF4-FFF2-40B4-BE49-F238E27FC236}">
                    <a16:creationId xmlns:a16="http://schemas.microsoft.com/office/drawing/2014/main" id="{A282E18B-9D56-42E8-9CE8-C1A47B3B8D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3851" y="4256088"/>
                <a:ext cx="82550" cy="19208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8" name="Freeform 156">
                <a:extLst>
                  <a:ext uri="{FF2B5EF4-FFF2-40B4-BE49-F238E27FC236}">
                    <a16:creationId xmlns:a16="http://schemas.microsoft.com/office/drawing/2014/main" id="{CA3C51E7-D6B7-49B0-999B-8AA8D58F41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66926" y="4214813"/>
                <a:ext cx="327025" cy="449263"/>
              </a:xfrm>
              <a:custGeom>
                <a:avLst/>
                <a:gdLst>
                  <a:gd name="T0" fmla="*/ 91 w 224"/>
                  <a:gd name="T1" fmla="*/ 273 h 307"/>
                  <a:gd name="T2" fmla="*/ 62 w 224"/>
                  <a:gd name="T3" fmla="*/ 285 h 307"/>
                  <a:gd name="T4" fmla="*/ 34 w 224"/>
                  <a:gd name="T5" fmla="*/ 273 h 307"/>
                  <a:gd name="T6" fmla="*/ 22 w 224"/>
                  <a:gd name="T7" fmla="*/ 245 h 307"/>
                  <a:gd name="T8" fmla="*/ 34 w 224"/>
                  <a:gd name="T9" fmla="*/ 216 h 307"/>
                  <a:gd name="T10" fmla="*/ 57 w 224"/>
                  <a:gd name="T11" fmla="*/ 205 h 307"/>
                  <a:gd name="T12" fmla="*/ 57 w 224"/>
                  <a:gd name="T13" fmla="*/ 194 h 307"/>
                  <a:gd name="T14" fmla="*/ 27 w 224"/>
                  <a:gd name="T15" fmla="*/ 209 h 307"/>
                  <a:gd name="T16" fmla="*/ 12 w 224"/>
                  <a:gd name="T17" fmla="*/ 245 h 307"/>
                  <a:gd name="T18" fmla="*/ 27 w 224"/>
                  <a:gd name="T19" fmla="*/ 280 h 307"/>
                  <a:gd name="T20" fmla="*/ 62 w 224"/>
                  <a:gd name="T21" fmla="*/ 295 h 307"/>
                  <a:gd name="T22" fmla="*/ 98 w 224"/>
                  <a:gd name="T23" fmla="*/ 280 h 307"/>
                  <a:gd name="T24" fmla="*/ 113 w 224"/>
                  <a:gd name="T25" fmla="*/ 245 h 307"/>
                  <a:gd name="T26" fmla="*/ 98 w 224"/>
                  <a:gd name="T27" fmla="*/ 209 h 307"/>
                  <a:gd name="T28" fmla="*/ 68 w 224"/>
                  <a:gd name="T29" fmla="*/ 194 h 307"/>
                  <a:gd name="T30" fmla="*/ 68 w 224"/>
                  <a:gd name="T31" fmla="*/ 205 h 307"/>
                  <a:gd name="T32" fmla="*/ 91 w 224"/>
                  <a:gd name="T33" fmla="*/ 216 h 307"/>
                  <a:gd name="T34" fmla="*/ 103 w 224"/>
                  <a:gd name="T35" fmla="*/ 245 h 307"/>
                  <a:gd name="T36" fmla="*/ 91 w 224"/>
                  <a:gd name="T37" fmla="*/ 273 h 307"/>
                  <a:gd name="T38" fmla="*/ 61 w 224"/>
                  <a:gd name="T39" fmla="*/ 30 h 307"/>
                  <a:gd name="T40" fmla="*/ 79 w 224"/>
                  <a:gd name="T41" fmla="*/ 8 h 307"/>
                  <a:gd name="T42" fmla="*/ 103 w 224"/>
                  <a:gd name="T43" fmla="*/ 0 h 307"/>
                  <a:gd name="T44" fmla="*/ 103 w 224"/>
                  <a:gd name="T45" fmla="*/ 0 h 307"/>
                  <a:gd name="T46" fmla="*/ 107 w 224"/>
                  <a:gd name="T47" fmla="*/ 0 h 307"/>
                  <a:gd name="T48" fmla="*/ 107 w 224"/>
                  <a:gd name="T49" fmla="*/ 1 h 307"/>
                  <a:gd name="T50" fmla="*/ 224 w 224"/>
                  <a:gd name="T51" fmla="*/ 19 h 307"/>
                  <a:gd name="T52" fmla="*/ 150 w 224"/>
                  <a:gd name="T53" fmla="*/ 19 h 307"/>
                  <a:gd name="T54" fmla="*/ 103 w 224"/>
                  <a:gd name="T55" fmla="*/ 12 h 307"/>
                  <a:gd name="T56" fmla="*/ 75 w 224"/>
                  <a:gd name="T57" fmla="*/ 28 h 307"/>
                  <a:gd name="T58" fmla="*/ 71 w 224"/>
                  <a:gd name="T59" fmla="*/ 34 h 307"/>
                  <a:gd name="T60" fmla="*/ 68 w 224"/>
                  <a:gd name="T61" fmla="*/ 45 h 307"/>
                  <a:gd name="T62" fmla="*/ 68 w 224"/>
                  <a:gd name="T63" fmla="*/ 50 h 307"/>
                  <a:gd name="T64" fmla="*/ 68 w 224"/>
                  <a:gd name="T65" fmla="*/ 57 h 307"/>
                  <a:gd name="T66" fmla="*/ 68 w 224"/>
                  <a:gd name="T67" fmla="*/ 82 h 307"/>
                  <a:gd name="T68" fmla="*/ 68 w 224"/>
                  <a:gd name="T69" fmla="*/ 180 h 307"/>
                  <a:gd name="T70" fmla="*/ 68 w 224"/>
                  <a:gd name="T71" fmla="*/ 180 h 307"/>
                  <a:gd name="T72" fmla="*/ 68 w 224"/>
                  <a:gd name="T73" fmla="*/ 183 h 307"/>
                  <a:gd name="T74" fmla="*/ 86 w 224"/>
                  <a:gd name="T75" fmla="*/ 187 h 307"/>
                  <a:gd name="T76" fmla="*/ 106 w 224"/>
                  <a:gd name="T77" fmla="*/ 201 h 307"/>
                  <a:gd name="T78" fmla="*/ 120 w 224"/>
                  <a:gd name="T79" fmla="*/ 221 h 307"/>
                  <a:gd name="T80" fmla="*/ 124 w 224"/>
                  <a:gd name="T81" fmla="*/ 245 h 307"/>
                  <a:gd name="T82" fmla="*/ 120 w 224"/>
                  <a:gd name="T83" fmla="*/ 268 h 307"/>
                  <a:gd name="T84" fmla="*/ 106 w 224"/>
                  <a:gd name="T85" fmla="*/ 288 h 307"/>
                  <a:gd name="T86" fmla="*/ 86 w 224"/>
                  <a:gd name="T87" fmla="*/ 302 h 307"/>
                  <a:gd name="T88" fmla="*/ 62 w 224"/>
                  <a:gd name="T89" fmla="*/ 307 h 307"/>
                  <a:gd name="T90" fmla="*/ 39 w 224"/>
                  <a:gd name="T91" fmla="*/ 302 h 307"/>
                  <a:gd name="T92" fmla="*/ 18 w 224"/>
                  <a:gd name="T93" fmla="*/ 288 h 307"/>
                  <a:gd name="T94" fmla="*/ 5 w 224"/>
                  <a:gd name="T95" fmla="*/ 268 h 307"/>
                  <a:gd name="T96" fmla="*/ 0 w 224"/>
                  <a:gd name="T97" fmla="*/ 245 h 307"/>
                  <a:gd name="T98" fmla="*/ 5 w 224"/>
                  <a:gd name="T99" fmla="*/ 221 h 307"/>
                  <a:gd name="T100" fmla="*/ 18 w 224"/>
                  <a:gd name="T101" fmla="*/ 201 h 307"/>
                  <a:gd name="T102" fmla="*/ 39 w 224"/>
                  <a:gd name="T103" fmla="*/ 187 h 307"/>
                  <a:gd name="T104" fmla="*/ 57 w 224"/>
                  <a:gd name="T105" fmla="*/ 183 h 307"/>
                  <a:gd name="T106" fmla="*/ 57 w 224"/>
                  <a:gd name="T107" fmla="*/ 180 h 307"/>
                  <a:gd name="T108" fmla="*/ 57 w 224"/>
                  <a:gd name="T109" fmla="*/ 180 h 307"/>
                  <a:gd name="T110" fmla="*/ 57 w 224"/>
                  <a:gd name="T111" fmla="*/ 165 h 307"/>
                  <a:gd name="T112" fmla="*/ 57 w 224"/>
                  <a:gd name="T113" fmla="*/ 82 h 307"/>
                  <a:gd name="T114" fmla="*/ 57 w 224"/>
                  <a:gd name="T115" fmla="*/ 57 h 307"/>
                  <a:gd name="T116" fmla="*/ 57 w 224"/>
                  <a:gd name="T117" fmla="*/ 50 h 307"/>
                  <a:gd name="T118" fmla="*/ 57 w 224"/>
                  <a:gd name="T119" fmla="*/ 43 h 307"/>
                  <a:gd name="T120" fmla="*/ 61 w 224"/>
                  <a:gd name="T121" fmla="*/ 3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24" h="307">
                    <a:moveTo>
                      <a:pt x="91" y="273"/>
                    </a:moveTo>
                    <a:cubicBezTo>
                      <a:pt x="83" y="281"/>
                      <a:pt x="73" y="285"/>
                      <a:pt x="62" y="285"/>
                    </a:cubicBezTo>
                    <a:cubicBezTo>
                      <a:pt x="52" y="285"/>
                      <a:pt x="41" y="281"/>
                      <a:pt x="34" y="273"/>
                    </a:cubicBezTo>
                    <a:cubicBezTo>
                      <a:pt x="26" y="266"/>
                      <a:pt x="22" y="255"/>
                      <a:pt x="22" y="245"/>
                    </a:cubicBezTo>
                    <a:cubicBezTo>
                      <a:pt x="22" y="234"/>
                      <a:pt x="26" y="223"/>
                      <a:pt x="34" y="216"/>
                    </a:cubicBezTo>
                    <a:cubicBezTo>
                      <a:pt x="40" y="210"/>
                      <a:pt x="48" y="206"/>
                      <a:pt x="57" y="205"/>
                    </a:cubicBezTo>
                    <a:cubicBezTo>
                      <a:pt x="57" y="194"/>
                      <a:pt x="57" y="194"/>
                      <a:pt x="57" y="194"/>
                    </a:cubicBezTo>
                    <a:cubicBezTo>
                      <a:pt x="45" y="196"/>
                      <a:pt x="35" y="201"/>
                      <a:pt x="27" y="209"/>
                    </a:cubicBezTo>
                    <a:cubicBezTo>
                      <a:pt x="17" y="218"/>
                      <a:pt x="12" y="231"/>
                      <a:pt x="12" y="245"/>
                    </a:cubicBezTo>
                    <a:cubicBezTo>
                      <a:pt x="12" y="258"/>
                      <a:pt x="17" y="271"/>
                      <a:pt x="27" y="280"/>
                    </a:cubicBezTo>
                    <a:cubicBezTo>
                      <a:pt x="36" y="290"/>
                      <a:pt x="49" y="295"/>
                      <a:pt x="62" y="295"/>
                    </a:cubicBezTo>
                    <a:cubicBezTo>
                      <a:pt x="76" y="295"/>
                      <a:pt x="89" y="290"/>
                      <a:pt x="98" y="280"/>
                    </a:cubicBezTo>
                    <a:cubicBezTo>
                      <a:pt x="107" y="271"/>
                      <a:pt x="113" y="258"/>
                      <a:pt x="113" y="245"/>
                    </a:cubicBezTo>
                    <a:cubicBezTo>
                      <a:pt x="113" y="231"/>
                      <a:pt x="107" y="218"/>
                      <a:pt x="98" y="209"/>
                    </a:cubicBezTo>
                    <a:cubicBezTo>
                      <a:pt x="90" y="201"/>
                      <a:pt x="79" y="196"/>
                      <a:pt x="68" y="194"/>
                    </a:cubicBezTo>
                    <a:cubicBezTo>
                      <a:pt x="68" y="205"/>
                      <a:pt x="68" y="205"/>
                      <a:pt x="68" y="205"/>
                    </a:cubicBezTo>
                    <a:cubicBezTo>
                      <a:pt x="77" y="206"/>
                      <a:pt x="85" y="210"/>
                      <a:pt x="91" y="216"/>
                    </a:cubicBezTo>
                    <a:cubicBezTo>
                      <a:pt x="98" y="223"/>
                      <a:pt x="103" y="234"/>
                      <a:pt x="103" y="245"/>
                    </a:cubicBezTo>
                    <a:cubicBezTo>
                      <a:pt x="103" y="255"/>
                      <a:pt x="98" y="266"/>
                      <a:pt x="91" y="273"/>
                    </a:cubicBezTo>
                    <a:close/>
                    <a:moveTo>
                      <a:pt x="61" y="30"/>
                    </a:moveTo>
                    <a:cubicBezTo>
                      <a:pt x="65" y="21"/>
                      <a:pt x="71" y="13"/>
                      <a:pt x="79" y="8"/>
                    </a:cubicBezTo>
                    <a:cubicBezTo>
                      <a:pt x="86" y="3"/>
                      <a:pt x="95" y="1"/>
                      <a:pt x="103" y="0"/>
                    </a:cubicBezTo>
                    <a:cubicBezTo>
                      <a:pt x="103" y="0"/>
                      <a:pt x="103" y="0"/>
                      <a:pt x="103" y="0"/>
                    </a:cubicBezTo>
                    <a:cubicBezTo>
                      <a:pt x="104" y="0"/>
                      <a:pt x="105" y="0"/>
                      <a:pt x="107" y="0"/>
                    </a:cubicBezTo>
                    <a:cubicBezTo>
                      <a:pt x="107" y="1"/>
                      <a:pt x="107" y="1"/>
                      <a:pt x="107" y="1"/>
                    </a:cubicBezTo>
                    <a:cubicBezTo>
                      <a:pt x="224" y="19"/>
                      <a:pt x="224" y="19"/>
                      <a:pt x="224" y="19"/>
                    </a:cubicBezTo>
                    <a:cubicBezTo>
                      <a:pt x="150" y="19"/>
                      <a:pt x="150" y="19"/>
                      <a:pt x="150" y="19"/>
                    </a:cubicBezTo>
                    <a:cubicBezTo>
                      <a:pt x="103" y="12"/>
                      <a:pt x="103" y="12"/>
                      <a:pt x="103" y="12"/>
                    </a:cubicBezTo>
                    <a:cubicBezTo>
                      <a:pt x="92" y="13"/>
                      <a:pt x="82" y="19"/>
                      <a:pt x="75" y="28"/>
                    </a:cubicBezTo>
                    <a:cubicBezTo>
                      <a:pt x="74" y="30"/>
                      <a:pt x="72" y="32"/>
                      <a:pt x="71" y="34"/>
                    </a:cubicBezTo>
                    <a:cubicBezTo>
                      <a:pt x="70" y="38"/>
                      <a:pt x="69" y="41"/>
                      <a:pt x="68" y="45"/>
                    </a:cubicBezTo>
                    <a:cubicBezTo>
                      <a:pt x="68" y="47"/>
                      <a:pt x="68" y="48"/>
                      <a:pt x="68" y="50"/>
                    </a:cubicBezTo>
                    <a:cubicBezTo>
                      <a:pt x="68" y="57"/>
                      <a:pt x="68" y="57"/>
                      <a:pt x="68" y="57"/>
                    </a:cubicBezTo>
                    <a:cubicBezTo>
                      <a:pt x="68" y="82"/>
                      <a:pt x="68" y="82"/>
                      <a:pt x="68" y="82"/>
                    </a:cubicBezTo>
                    <a:cubicBezTo>
                      <a:pt x="68" y="180"/>
                      <a:pt x="68" y="180"/>
                      <a:pt x="68" y="180"/>
                    </a:cubicBezTo>
                    <a:cubicBezTo>
                      <a:pt x="68" y="180"/>
                      <a:pt x="68" y="180"/>
                      <a:pt x="68" y="180"/>
                    </a:cubicBezTo>
                    <a:cubicBezTo>
                      <a:pt x="68" y="183"/>
                      <a:pt x="68" y="183"/>
                      <a:pt x="68" y="183"/>
                    </a:cubicBezTo>
                    <a:cubicBezTo>
                      <a:pt x="74" y="183"/>
                      <a:pt x="80" y="185"/>
                      <a:pt x="86" y="187"/>
                    </a:cubicBezTo>
                    <a:cubicBezTo>
                      <a:pt x="94" y="190"/>
                      <a:pt x="100" y="195"/>
                      <a:pt x="106" y="201"/>
                    </a:cubicBezTo>
                    <a:cubicBezTo>
                      <a:pt x="112" y="206"/>
                      <a:pt x="117" y="213"/>
                      <a:pt x="120" y="221"/>
                    </a:cubicBezTo>
                    <a:cubicBezTo>
                      <a:pt x="123" y="228"/>
                      <a:pt x="124" y="236"/>
                      <a:pt x="124" y="245"/>
                    </a:cubicBezTo>
                    <a:cubicBezTo>
                      <a:pt x="124" y="253"/>
                      <a:pt x="123" y="261"/>
                      <a:pt x="120" y="268"/>
                    </a:cubicBezTo>
                    <a:cubicBezTo>
                      <a:pt x="117" y="276"/>
                      <a:pt x="112" y="283"/>
                      <a:pt x="106" y="288"/>
                    </a:cubicBezTo>
                    <a:cubicBezTo>
                      <a:pt x="100" y="294"/>
                      <a:pt x="94" y="299"/>
                      <a:pt x="86" y="302"/>
                    </a:cubicBezTo>
                    <a:cubicBezTo>
                      <a:pt x="79" y="305"/>
                      <a:pt x="70" y="307"/>
                      <a:pt x="62" y="307"/>
                    </a:cubicBezTo>
                    <a:cubicBezTo>
                      <a:pt x="54" y="307"/>
                      <a:pt x="46" y="305"/>
                      <a:pt x="39" y="302"/>
                    </a:cubicBezTo>
                    <a:cubicBezTo>
                      <a:pt x="31" y="299"/>
                      <a:pt x="24" y="294"/>
                      <a:pt x="18" y="288"/>
                    </a:cubicBezTo>
                    <a:cubicBezTo>
                      <a:pt x="13" y="283"/>
                      <a:pt x="8" y="276"/>
                      <a:pt x="5" y="268"/>
                    </a:cubicBezTo>
                    <a:cubicBezTo>
                      <a:pt x="2" y="261"/>
                      <a:pt x="0" y="253"/>
                      <a:pt x="0" y="245"/>
                    </a:cubicBezTo>
                    <a:cubicBezTo>
                      <a:pt x="0" y="236"/>
                      <a:pt x="2" y="228"/>
                      <a:pt x="5" y="221"/>
                    </a:cubicBezTo>
                    <a:cubicBezTo>
                      <a:pt x="8" y="213"/>
                      <a:pt x="13" y="206"/>
                      <a:pt x="18" y="201"/>
                    </a:cubicBezTo>
                    <a:cubicBezTo>
                      <a:pt x="24" y="195"/>
                      <a:pt x="31" y="190"/>
                      <a:pt x="39" y="187"/>
                    </a:cubicBezTo>
                    <a:cubicBezTo>
                      <a:pt x="44" y="185"/>
                      <a:pt x="50" y="183"/>
                      <a:pt x="57" y="183"/>
                    </a:cubicBezTo>
                    <a:cubicBezTo>
                      <a:pt x="57" y="180"/>
                      <a:pt x="57" y="180"/>
                      <a:pt x="57" y="180"/>
                    </a:cubicBezTo>
                    <a:cubicBezTo>
                      <a:pt x="57" y="180"/>
                      <a:pt x="57" y="180"/>
                      <a:pt x="57" y="180"/>
                    </a:cubicBezTo>
                    <a:cubicBezTo>
                      <a:pt x="57" y="165"/>
                      <a:pt x="57" y="165"/>
                      <a:pt x="57" y="165"/>
                    </a:cubicBezTo>
                    <a:cubicBezTo>
                      <a:pt x="57" y="82"/>
                      <a:pt x="57" y="82"/>
                      <a:pt x="57" y="82"/>
                    </a:cubicBezTo>
                    <a:cubicBezTo>
                      <a:pt x="57" y="57"/>
                      <a:pt x="57" y="57"/>
                      <a:pt x="57" y="57"/>
                    </a:cubicBezTo>
                    <a:cubicBezTo>
                      <a:pt x="57" y="50"/>
                      <a:pt x="57" y="50"/>
                      <a:pt x="57" y="50"/>
                    </a:cubicBezTo>
                    <a:cubicBezTo>
                      <a:pt x="57" y="48"/>
                      <a:pt x="57" y="46"/>
                      <a:pt x="57" y="43"/>
                    </a:cubicBezTo>
                    <a:cubicBezTo>
                      <a:pt x="58" y="39"/>
                      <a:pt x="59" y="34"/>
                      <a:pt x="61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9" name="Freeform 157">
                <a:extLst>
                  <a:ext uri="{FF2B5EF4-FFF2-40B4-BE49-F238E27FC236}">
                    <a16:creationId xmlns:a16="http://schemas.microsoft.com/office/drawing/2014/main" id="{FA7D1D1A-5C25-40A6-913D-485F648129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19301" y="4346576"/>
                <a:ext cx="979488" cy="739775"/>
              </a:xfrm>
              <a:custGeom>
                <a:avLst/>
                <a:gdLst>
                  <a:gd name="T0" fmla="*/ 302 w 670"/>
                  <a:gd name="T1" fmla="*/ 247 h 506"/>
                  <a:gd name="T2" fmla="*/ 226 w 670"/>
                  <a:gd name="T3" fmla="*/ 314 h 506"/>
                  <a:gd name="T4" fmla="*/ 302 w 670"/>
                  <a:gd name="T5" fmla="*/ 389 h 506"/>
                  <a:gd name="T6" fmla="*/ 369 w 670"/>
                  <a:gd name="T7" fmla="*/ 314 h 506"/>
                  <a:gd name="T8" fmla="*/ 444 w 670"/>
                  <a:gd name="T9" fmla="*/ 247 h 506"/>
                  <a:gd name="T10" fmla="*/ 369 w 670"/>
                  <a:gd name="T11" fmla="*/ 172 h 506"/>
                  <a:gd name="T12" fmla="*/ 271 w 670"/>
                  <a:gd name="T13" fmla="*/ 99 h 506"/>
                  <a:gd name="T14" fmla="*/ 557 w 670"/>
                  <a:gd name="T15" fmla="*/ 105 h 506"/>
                  <a:gd name="T16" fmla="*/ 518 w 670"/>
                  <a:gd name="T17" fmla="*/ 119 h 506"/>
                  <a:gd name="T18" fmla="*/ 487 w 670"/>
                  <a:gd name="T19" fmla="*/ 179 h 506"/>
                  <a:gd name="T20" fmla="*/ 487 w 670"/>
                  <a:gd name="T21" fmla="*/ 238 h 506"/>
                  <a:gd name="T22" fmla="*/ 493 w 670"/>
                  <a:gd name="T23" fmla="*/ 282 h 506"/>
                  <a:gd name="T24" fmla="*/ 494 w 670"/>
                  <a:gd name="T25" fmla="*/ 285 h 506"/>
                  <a:gd name="T26" fmla="*/ 496 w 670"/>
                  <a:gd name="T27" fmla="*/ 292 h 506"/>
                  <a:gd name="T28" fmla="*/ 517 w 670"/>
                  <a:gd name="T29" fmla="*/ 309 h 506"/>
                  <a:gd name="T30" fmla="*/ 538 w 670"/>
                  <a:gd name="T31" fmla="*/ 319 h 506"/>
                  <a:gd name="T32" fmla="*/ 559 w 670"/>
                  <a:gd name="T33" fmla="*/ 309 h 506"/>
                  <a:gd name="T34" fmla="*/ 576 w 670"/>
                  <a:gd name="T35" fmla="*/ 320 h 506"/>
                  <a:gd name="T36" fmla="*/ 596 w 670"/>
                  <a:gd name="T37" fmla="*/ 313 h 506"/>
                  <a:gd name="T38" fmla="*/ 622 w 670"/>
                  <a:gd name="T39" fmla="*/ 300 h 506"/>
                  <a:gd name="T40" fmla="*/ 629 w 670"/>
                  <a:gd name="T41" fmla="*/ 288 h 506"/>
                  <a:gd name="T42" fmla="*/ 630 w 670"/>
                  <a:gd name="T43" fmla="*/ 284 h 506"/>
                  <a:gd name="T44" fmla="*/ 630 w 670"/>
                  <a:gd name="T45" fmla="*/ 243 h 506"/>
                  <a:gd name="T46" fmla="*/ 637 w 670"/>
                  <a:gd name="T47" fmla="*/ 199 h 506"/>
                  <a:gd name="T48" fmla="*/ 633 w 670"/>
                  <a:gd name="T49" fmla="*/ 156 h 506"/>
                  <a:gd name="T50" fmla="*/ 570 w 670"/>
                  <a:gd name="T51" fmla="*/ 105 h 506"/>
                  <a:gd name="T52" fmla="*/ 567 w 670"/>
                  <a:gd name="T53" fmla="*/ 99 h 506"/>
                  <a:gd name="T54" fmla="*/ 670 w 670"/>
                  <a:gd name="T55" fmla="*/ 506 h 506"/>
                  <a:gd name="T56" fmla="*/ 0 w 670"/>
                  <a:gd name="T57" fmla="*/ 0 h 506"/>
                  <a:gd name="T58" fmla="*/ 77 w 670"/>
                  <a:gd name="T59" fmla="*/ 75 h 506"/>
                  <a:gd name="T60" fmla="*/ 95 w 670"/>
                  <a:gd name="T61" fmla="*/ 233 h 506"/>
                  <a:gd name="T62" fmla="*/ 113 w 670"/>
                  <a:gd name="T63" fmla="*/ 75 h 506"/>
                  <a:gd name="T64" fmla="*/ 271 w 670"/>
                  <a:gd name="T65" fmla="*/ 0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70" h="506">
                    <a:moveTo>
                      <a:pt x="302" y="172"/>
                    </a:moveTo>
                    <a:cubicBezTo>
                      <a:pt x="302" y="247"/>
                      <a:pt x="302" y="247"/>
                      <a:pt x="302" y="247"/>
                    </a:cubicBezTo>
                    <a:cubicBezTo>
                      <a:pt x="226" y="247"/>
                      <a:pt x="226" y="247"/>
                      <a:pt x="226" y="247"/>
                    </a:cubicBezTo>
                    <a:cubicBezTo>
                      <a:pt x="226" y="314"/>
                      <a:pt x="226" y="314"/>
                      <a:pt x="226" y="314"/>
                    </a:cubicBezTo>
                    <a:cubicBezTo>
                      <a:pt x="302" y="314"/>
                      <a:pt x="302" y="314"/>
                      <a:pt x="302" y="314"/>
                    </a:cubicBezTo>
                    <a:cubicBezTo>
                      <a:pt x="302" y="389"/>
                      <a:pt x="302" y="389"/>
                      <a:pt x="302" y="389"/>
                    </a:cubicBezTo>
                    <a:cubicBezTo>
                      <a:pt x="369" y="389"/>
                      <a:pt x="369" y="389"/>
                      <a:pt x="369" y="389"/>
                    </a:cubicBezTo>
                    <a:cubicBezTo>
                      <a:pt x="369" y="314"/>
                      <a:pt x="369" y="314"/>
                      <a:pt x="369" y="314"/>
                    </a:cubicBezTo>
                    <a:cubicBezTo>
                      <a:pt x="444" y="314"/>
                      <a:pt x="444" y="314"/>
                      <a:pt x="444" y="314"/>
                    </a:cubicBezTo>
                    <a:cubicBezTo>
                      <a:pt x="444" y="247"/>
                      <a:pt x="444" y="247"/>
                      <a:pt x="444" y="247"/>
                    </a:cubicBezTo>
                    <a:cubicBezTo>
                      <a:pt x="369" y="247"/>
                      <a:pt x="369" y="247"/>
                      <a:pt x="369" y="247"/>
                    </a:cubicBezTo>
                    <a:cubicBezTo>
                      <a:pt x="369" y="172"/>
                      <a:pt x="369" y="172"/>
                      <a:pt x="369" y="172"/>
                    </a:cubicBezTo>
                    <a:lnTo>
                      <a:pt x="302" y="172"/>
                    </a:lnTo>
                    <a:close/>
                    <a:moveTo>
                      <a:pt x="271" y="99"/>
                    </a:moveTo>
                    <a:cubicBezTo>
                      <a:pt x="557" y="99"/>
                      <a:pt x="557" y="99"/>
                      <a:pt x="557" y="99"/>
                    </a:cubicBezTo>
                    <a:cubicBezTo>
                      <a:pt x="557" y="105"/>
                      <a:pt x="557" y="105"/>
                      <a:pt x="557" y="105"/>
                    </a:cubicBezTo>
                    <a:cubicBezTo>
                      <a:pt x="554" y="105"/>
                      <a:pt x="554" y="105"/>
                      <a:pt x="554" y="105"/>
                    </a:cubicBezTo>
                    <a:cubicBezTo>
                      <a:pt x="541" y="106"/>
                      <a:pt x="528" y="111"/>
                      <a:pt x="518" y="119"/>
                    </a:cubicBezTo>
                    <a:cubicBezTo>
                      <a:pt x="505" y="128"/>
                      <a:pt x="495" y="141"/>
                      <a:pt x="490" y="156"/>
                    </a:cubicBezTo>
                    <a:cubicBezTo>
                      <a:pt x="488" y="163"/>
                      <a:pt x="487" y="171"/>
                      <a:pt x="487" y="179"/>
                    </a:cubicBezTo>
                    <a:cubicBezTo>
                      <a:pt x="487" y="199"/>
                      <a:pt x="487" y="199"/>
                      <a:pt x="487" y="199"/>
                    </a:cubicBezTo>
                    <a:cubicBezTo>
                      <a:pt x="487" y="238"/>
                      <a:pt x="487" y="238"/>
                      <a:pt x="487" y="238"/>
                    </a:cubicBezTo>
                    <a:cubicBezTo>
                      <a:pt x="487" y="240"/>
                      <a:pt x="489" y="242"/>
                      <a:pt x="493" y="243"/>
                    </a:cubicBezTo>
                    <a:cubicBezTo>
                      <a:pt x="493" y="282"/>
                      <a:pt x="493" y="282"/>
                      <a:pt x="493" y="282"/>
                    </a:cubicBezTo>
                    <a:cubicBezTo>
                      <a:pt x="493" y="283"/>
                      <a:pt x="493" y="283"/>
                      <a:pt x="494" y="284"/>
                    </a:cubicBezTo>
                    <a:cubicBezTo>
                      <a:pt x="494" y="284"/>
                      <a:pt x="494" y="285"/>
                      <a:pt x="494" y="285"/>
                    </a:cubicBezTo>
                    <a:cubicBezTo>
                      <a:pt x="494" y="286"/>
                      <a:pt x="494" y="287"/>
                      <a:pt x="494" y="287"/>
                    </a:cubicBezTo>
                    <a:cubicBezTo>
                      <a:pt x="495" y="289"/>
                      <a:pt x="496" y="290"/>
                      <a:pt x="496" y="292"/>
                    </a:cubicBezTo>
                    <a:cubicBezTo>
                      <a:pt x="498" y="294"/>
                      <a:pt x="500" y="297"/>
                      <a:pt x="502" y="299"/>
                    </a:cubicBezTo>
                    <a:cubicBezTo>
                      <a:pt x="506" y="303"/>
                      <a:pt x="511" y="306"/>
                      <a:pt x="517" y="309"/>
                    </a:cubicBezTo>
                    <a:cubicBezTo>
                      <a:pt x="520" y="310"/>
                      <a:pt x="524" y="311"/>
                      <a:pt x="528" y="312"/>
                    </a:cubicBezTo>
                    <a:cubicBezTo>
                      <a:pt x="529" y="316"/>
                      <a:pt x="533" y="319"/>
                      <a:pt x="538" y="319"/>
                    </a:cubicBezTo>
                    <a:cubicBezTo>
                      <a:pt x="548" y="319"/>
                      <a:pt x="548" y="319"/>
                      <a:pt x="548" y="319"/>
                    </a:cubicBezTo>
                    <a:cubicBezTo>
                      <a:pt x="554" y="319"/>
                      <a:pt x="558" y="315"/>
                      <a:pt x="559" y="309"/>
                    </a:cubicBezTo>
                    <a:cubicBezTo>
                      <a:pt x="565" y="309"/>
                      <a:pt x="565" y="309"/>
                      <a:pt x="565" y="309"/>
                    </a:cubicBezTo>
                    <a:cubicBezTo>
                      <a:pt x="565" y="315"/>
                      <a:pt x="570" y="320"/>
                      <a:pt x="576" y="320"/>
                    </a:cubicBezTo>
                    <a:cubicBezTo>
                      <a:pt x="586" y="320"/>
                      <a:pt x="586" y="320"/>
                      <a:pt x="586" y="320"/>
                    </a:cubicBezTo>
                    <a:cubicBezTo>
                      <a:pt x="591" y="320"/>
                      <a:pt x="595" y="317"/>
                      <a:pt x="596" y="313"/>
                    </a:cubicBezTo>
                    <a:cubicBezTo>
                      <a:pt x="600" y="312"/>
                      <a:pt x="603" y="311"/>
                      <a:pt x="607" y="309"/>
                    </a:cubicBezTo>
                    <a:cubicBezTo>
                      <a:pt x="612" y="307"/>
                      <a:pt x="617" y="304"/>
                      <a:pt x="622" y="300"/>
                    </a:cubicBezTo>
                    <a:cubicBezTo>
                      <a:pt x="624" y="297"/>
                      <a:pt x="626" y="295"/>
                      <a:pt x="627" y="292"/>
                    </a:cubicBezTo>
                    <a:cubicBezTo>
                      <a:pt x="628" y="291"/>
                      <a:pt x="629" y="290"/>
                      <a:pt x="629" y="288"/>
                    </a:cubicBezTo>
                    <a:cubicBezTo>
                      <a:pt x="629" y="287"/>
                      <a:pt x="630" y="286"/>
                      <a:pt x="630" y="286"/>
                    </a:cubicBezTo>
                    <a:cubicBezTo>
                      <a:pt x="630" y="285"/>
                      <a:pt x="630" y="285"/>
                      <a:pt x="630" y="284"/>
                    </a:cubicBezTo>
                    <a:cubicBezTo>
                      <a:pt x="630" y="284"/>
                      <a:pt x="630" y="283"/>
                      <a:pt x="630" y="282"/>
                    </a:cubicBezTo>
                    <a:cubicBezTo>
                      <a:pt x="630" y="243"/>
                      <a:pt x="630" y="243"/>
                      <a:pt x="630" y="243"/>
                    </a:cubicBezTo>
                    <a:cubicBezTo>
                      <a:pt x="634" y="242"/>
                      <a:pt x="637" y="240"/>
                      <a:pt x="637" y="238"/>
                    </a:cubicBezTo>
                    <a:cubicBezTo>
                      <a:pt x="637" y="199"/>
                      <a:pt x="637" y="199"/>
                      <a:pt x="637" y="199"/>
                    </a:cubicBezTo>
                    <a:cubicBezTo>
                      <a:pt x="637" y="179"/>
                      <a:pt x="637" y="179"/>
                      <a:pt x="637" y="179"/>
                    </a:cubicBezTo>
                    <a:cubicBezTo>
                      <a:pt x="637" y="171"/>
                      <a:pt x="636" y="163"/>
                      <a:pt x="633" y="156"/>
                    </a:cubicBezTo>
                    <a:cubicBezTo>
                      <a:pt x="628" y="141"/>
                      <a:pt x="618" y="128"/>
                      <a:pt x="606" y="119"/>
                    </a:cubicBezTo>
                    <a:cubicBezTo>
                      <a:pt x="595" y="111"/>
                      <a:pt x="583" y="106"/>
                      <a:pt x="570" y="105"/>
                    </a:cubicBezTo>
                    <a:cubicBezTo>
                      <a:pt x="567" y="105"/>
                      <a:pt x="567" y="105"/>
                      <a:pt x="567" y="105"/>
                    </a:cubicBezTo>
                    <a:cubicBezTo>
                      <a:pt x="567" y="99"/>
                      <a:pt x="567" y="99"/>
                      <a:pt x="567" y="99"/>
                    </a:cubicBezTo>
                    <a:cubicBezTo>
                      <a:pt x="670" y="99"/>
                      <a:pt x="670" y="99"/>
                      <a:pt x="670" y="99"/>
                    </a:cubicBezTo>
                    <a:cubicBezTo>
                      <a:pt x="670" y="506"/>
                      <a:pt x="670" y="506"/>
                      <a:pt x="670" y="506"/>
                    </a:cubicBezTo>
                    <a:cubicBezTo>
                      <a:pt x="0" y="506"/>
                      <a:pt x="0" y="506"/>
                      <a:pt x="0" y="50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7" y="75"/>
                      <a:pt x="77" y="75"/>
                      <a:pt x="77" y="75"/>
                    </a:cubicBezTo>
                    <a:cubicBezTo>
                      <a:pt x="42" y="83"/>
                      <a:pt x="15" y="115"/>
                      <a:pt x="15" y="153"/>
                    </a:cubicBezTo>
                    <a:cubicBezTo>
                      <a:pt x="15" y="197"/>
                      <a:pt x="51" y="233"/>
                      <a:pt x="95" y="233"/>
                    </a:cubicBezTo>
                    <a:cubicBezTo>
                      <a:pt x="139" y="233"/>
                      <a:pt x="175" y="197"/>
                      <a:pt x="175" y="153"/>
                    </a:cubicBezTo>
                    <a:cubicBezTo>
                      <a:pt x="175" y="115"/>
                      <a:pt x="149" y="83"/>
                      <a:pt x="113" y="75"/>
                    </a:cubicBezTo>
                    <a:cubicBezTo>
                      <a:pt x="113" y="0"/>
                      <a:pt x="113" y="0"/>
                      <a:pt x="113" y="0"/>
                    </a:cubicBezTo>
                    <a:cubicBezTo>
                      <a:pt x="271" y="0"/>
                      <a:pt x="271" y="0"/>
                      <a:pt x="271" y="0"/>
                    </a:cubicBezTo>
                    <a:lnTo>
                      <a:pt x="271" y="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10" name="Freeform 158">
                <a:extLst>
                  <a:ext uri="{FF2B5EF4-FFF2-40B4-BE49-F238E27FC236}">
                    <a16:creationId xmlns:a16="http://schemas.microsoft.com/office/drawing/2014/main" id="{E2D84283-A7D8-4B46-8286-A4B4BB3CD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3276" y="4256088"/>
                <a:ext cx="68263" cy="52388"/>
              </a:xfrm>
              <a:custGeom>
                <a:avLst/>
                <a:gdLst>
                  <a:gd name="T0" fmla="*/ 0 w 46"/>
                  <a:gd name="T1" fmla="*/ 0 h 36"/>
                  <a:gd name="T2" fmla="*/ 46 w 46"/>
                  <a:gd name="T3" fmla="*/ 0 h 36"/>
                  <a:gd name="T4" fmla="*/ 42 w 46"/>
                  <a:gd name="T5" fmla="*/ 15 h 36"/>
                  <a:gd name="T6" fmla="*/ 42 w 46"/>
                  <a:gd name="T7" fmla="*/ 36 h 36"/>
                  <a:gd name="T8" fmla="*/ 0 w 46"/>
                  <a:gd name="T9" fmla="*/ 36 h 36"/>
                  <a:gd name="T10" fmla="*/ 0 w 46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36">
                    <a:moveTo>
                      <a:pt x="0" y="0"/>
                    </a:moveTo>
                    <a:cubicBezTo>
                      <a:pt x="46" y="0"/>
                      <a:pt x="46" y="0"/>
                      <a:pt x="46" y="0"/>
                    </a:cubicBezTo>
                    <a:cubicBezTo>
                      <a:pt x="44" y="4"/>
                      <a:pt x="42" y="10"/>
                      <a:pt x="42" y="15"/>
                    </a:cubicBezTo>
                    <a:cubicBezTo>
                      <a:pt x="42" y="21"/>
                      <a:pt x="42" y="30"/>
                      <a:pt x="42" y="36"/>
                    </a:cubicBezTo>
                    <a:cubicBezTo>
                      <a:pt x="0" y="36"/>
                      <a:pt x="0" y="36"/>
                      <a:pt x="0" y="36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08" name="Group 40">
              <a:extLst>
                <a:ext uri="{FF2B5EF4-FFF2-40B4-BE49-F238E27FC236}">
                  <a16:creationId xmlns:a16="http://schemas.microsoft.com/office/drawing/2014/main" id="{CE74D16A-6EE2-4ECE-BCC5-1189E3EB7C48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8306384" y="2099921"/>
              <a:ext cx="269552" cy="378776"/>
              <a:chOff x="1798" y="107"/>
              <a:chExt cx="2152" cy="3024"/>
            </a:xfrm>
            <a:solidFill>
              <a:srgbClr val="FFFFFF">
                <a:alpha val="28000"/>
              </a:srgbClr>
            </a:solidFill>
          </p:grpSpPr>
          <p:sp>
            <p:nvSpPr>
              <p:cNvPr id="300" name="Freeform 41">
                <a:extLst>
                  <a:ext uri="{FF2B5EF4-FFF2-40B4-BE49-F238E27FC236}">
                    <a16:creationId xmlns:a16="http://schemas.microsoft.com/office/drawing/2014/main" id="{21CF14CD-E2EF-4E67-BE02-227CBDEC32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98" y="443"/>
                <a:ext cx="2152" cy="2688"/>
              </a:xfrm>
              <a:custGeom>
                <a:avLst/>
                <a:gdLst>
                  <a:gd name="T0" fmla="*/ 462 w 1432"/>
                  <a:gd name="T1" fmla="*/ 191 h 1792"/>
                  <a:gd name="T2" fmla="*/ 427 w 1432"/>
                  <a:gd name="T3" fmla="*/ 191 h 1792"/>
                  <a:gd name="T4" fmla="*/ 337 w 1432"/>
                  <a:gd name="T5" fmla="*/ 95 h 1792"/>
                  <a:gd name="T6" fmla="*/ 429 w 1432"/>
                  <a:gd name="T7" fmla="*/ 0 h 1792"/>
                  <a:gd name="T8" fmla="*/ 947 w 1432"/>
                  <a:gd name="T9" fmla="*/ 0 h 1792"/>
                  <a:gd name="T10" fmla="*/ 1040 w 1432"/>
                  <a:gd name="T11" fmla="*/ 94 h 1792"/>
                  <a:gd name="T12" fmla="*/ 949 w 1432"/>
                  <a:gd name="T13" fmla="*/ 191 h 1792"/>
                  <a:gd name="T14" fmla="*/ 910 w 1432"/>
                  <a:gd name="T15" fmla="*/ 191 h 1792"/>
                  <a:gd name="T16" fmla="*/ 909 w 1432"/>
                  <a:gd name="T17" fmla="*/ 214 h 1792"/>
                  <a:gd name="T18" fmla="*/ 910 w 1432"/>
                  <a:gd name="T19" fmla="*/ 678 h 1792"/>
                  <a:gd name="T20" fmla="*/ 920 w 1432"/>
                  <a:gd name="T21" fmla="*/ 713 h 1792"/>
                  <a:gd name="T22" fmla="*/ 1404 w 1432"/>
                  <a:gd name="T23" fmla="*/ 1527 h 1792"/>
                  <a:gd name="T24" fmla="*/ 1419 w 1432"/>
                  <a:gd name="T25" fmla="*/ 1659 h 1792"/>
                  <a:gd name="T26" fmla="*/ 1307 w 1432"/>
                  <a:gd name="T27" fmla="*/ 1783 h 1792"/>
                  <a:gd name="T28" fmla="*/ 1266 w 1432"/>
                  <a:gd name="T29" fmla="*/ 1791 h 1792"/>
                  <a:gd name="T30" fmla="*/ 192 w 1432"/>
                  <a:gd name="T31" fmla="*/ 1792 h 1792"/>
                  <a:gd name="T32" fmla="*/ 53 w 1432"/>
                  <a:gd name="T33" fmla="*/ 1721 h 1792"/>
                  <a:gd name="T34" fmla="*/ 36 w 1432"/>
                  <a:gd name="T35" fmla="*/ 1526 h 1792"/>
                  <a:gd name="T36" fmla="*/ 456 w 1432"/>
                  <a:gd name="T37" fmla="*/ 709 h 1792"/>
                  <a:gd name="T38" fmla="*/ 462 w 1432"/>
                  <a:gd name="T39" fmla="*/ 684 h 1792"/>
                  <a:gd name="T40" fmla="*/ 464 w 1432"/>
                  <a:gd name="T41" fmla="*/ 204 h 1792"/>
                  <a:gd name="T42" fmla="*/ 462 w 1432"/>
                  <a:gd name="T43" fmla="*/ 191 h 1792"/>
                  <a:gd name="T44" fmla="*/ 528 w 1432"/>
                  <a:gd name="T45" fmla="*/ 128 h 1792"/>
                  <a:gd name="T46" fmla="*/ 528 w 1432"/>
                  <a:gd name="T47" fmla="*/ 155 h 1792"/>
                  <a:gd name="T48" fmla="*/ 527 w 1432"/>
                  <a:gd name="T49" fmla="*/ 677 h 1792"/>
                  <a:gd name="T50" fmla="*/ 518 w 1432"/>
                  <a:gd name="T51" fmla="*/ 715 h 1792"/>
                  <a:gd name="T52" fmla="*/ 88 w 1432"/>
                  <a:gd name="T53" fmla="*/ 1558 h 1792"/>
                  <a:gd name="T54" fmla="*/ 191 w 1432"/>
                  <a:gd name="T55" fmla="*/ 1727 h 1792"/>
                  <a:gd name="T56" fmla="*/ 1251 w 1432"/>
                  <a:gd name="T57" fmla="*/ 1727 h 1792"/>
                  <a:gd name="T58" fmla="*/ 1344 w 1432"/>
                  <a:gd name="T59" fmla="*/ 1668 h 1792"/>
                  <a:gd name="T60" fmla="*/ 1350 w 1432"/>
                  <a:gd name="T61" fmla="*/ 1556 h 1792"/>
                  <a:gd name="T62" fmla="*/ 871 w 1432"/>
                  <a:gd name="T63" fmla="*/ 733 h 1792"/>
                  <a:gd name="T64" fmla="*/ 849 w 1432"/>
                  <a:gd name="T65" fmla="*/ 652 h 1792"/>
                  <a:gd name="T66" fmla="*/ 849 w 1432"/>
                  <a:gd name="T67" fmla="*/ 148 h 1792"/>
                  <a:gd name="T68" fmla="*/ 849 w 1432"/>
                  <a:gd name="T69" fmla="*/ 128 h 1792"/>
                  <a:gd name="T70" fmla="*/ 946 w 1432"/>
                  <a:gd name="T71" fmla="*/ 127 h 1792"/>
                  <a:gd name="T72" fmla="*/ 976 w 1432"/>
                  <a:gd name="T73" fmla="*/ 97 h 1792"/>
                  <a:gd name="T74" fmla="*/ 945 w 1432"/>
                  <a:gd name="T75" fmla="*/ 64 h 1792"/>
                  <a:gd name="T76" fmla="*/ 933 w 1432"/>
                  <a:gd name="T77" fmla="*/ 64 h 1792"/>
                  <a:gd name="T78" fmla="*/ 445 w 1432"/>
                  <a:gd name="T79" fmla="*/ 64 h 1792"/>
                  <a:gd name="T80" fmla="*/ 427 w 1432"/>
                  <a:gd name="T81" fmla="*/ 65 h 1792"/>
                  <a:gd name="T82" fmla="*/ 403 w 1432"/>
                  <a:gd name="T83" fmla="*/ 106 h 1792"/>
                  <a:gd name="T84" fmla="*/ 437 w 1432"/>
                  <a:gd name="T85" fmla="*/ 128 h 1792"/>
                  <a:gd name="T86" fmla="*/ 528 w 1432"/>
                  <a:gd name="T87" fmla="*/ 128 h 17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432" h="1792">
                    <a:moveTo>
                      <a:pt x="462" y="191"/>
                    </a:moveTo>
                    <a:cubicBezTo>
                      <a:pt x="449" y="191"/>
                      <a:pt x="438" y="192"/>
                      <a:pt x="427" y="191"/>
                    </a:cubicBezTo>
                    <a:cubicBezTo>
                      <a:pt x="376" y="188"/>
                      <a:pt x="336" y="145"/>
                      <a:pt x="337" y="95"/>
                    </a:cubicBezTo>
                    <a:cubicBezTo>
                      <a:pt x="337" y="44"/>
                      <a:pt x="378" y="1"/>
                      <a:pt x="429" y="0"/>
                    </a:cubicBezTo>
                    <a:cubicBezTo>
                      <a:pt x="602" y="0"/>
                      <a:pt x="774" y="0"/>
                      <a:pt x="947" y="0"/>
                    </a:cubicBezTo>
                    <a:cubicBezTo>
                      <a:pt x="998" y="1"/>
                      <a:pt x="1039" y="44"/>
                      <a:pt x="1040" y="94"/>
                    </a:cubicBezTo>
                    <a:cubicBezTo>
                      <a:pt x="1041" y="146"/>
                      <a:pt x="1001" y="189"/>
                      <a:pt x="949" y="191"/>
                    </a:cubicBezTo>
                    <a:cubicBezTo>
                      <a:pt x="937" y="192"/>
                      <a:pt x="925" y="191"/>
                      <a:pt x="910" y="191"/>
                    </a:cubicBezTo>
                    <a:cubicBezTo>
                      <a:pt x="910" y="200"/>
                      <a:pt x="909" y="207"/>
                      <a:pt x="909" y="214"/>
                    </a:cubicBezTo>
                    <a:cubicBezTo>
                      <a:pt x="909" y="369"/>
                      <a:pt x="909" y="523"/>
                      <a:pt x="910" y="678"/>
                    </a:cubicBezTo>
                    <a:cubicBezTo>
                      <a:pt x="910" y="690"/>
                      <a:pt x="914" y="703"/>
                      <a:pt x="920" y="713"/>
                    </a:cubicBezTo>
                    <a:cubicBezTo>
                      <a:pt x="1081" y="985"/>
                      <a:pt x="1241" y="1256"/>
                      <a:pt x="1404" y="1527"/>
                    </a:cubicBezTo>
                    <a:cubicBezTo>
                      <a:pt x="1430" y="1570"/>
                      <a:pt x="1432" y="1614"/>
                      <a:pt x="1419" y="1659"/>
                    </a:cubicBezTo>
                    <a:cubicBezTo>
                      <a:pt x="1402" y="1718"/>
                      <a:pt x="1364" y="1761"/>
                      <a:pt x="1307" y="1783"/>
                    </a:cubicBezTo>
                    <a:cubicBezTo>
                      <a:pt x="1294" y="1788"/>
                      <a:pt x="1280" y="1791"/>
                      <a:pt x="1266" y="1791"/>
                    </a:cubicBezTo>
                    <a:cubicBezTo>
                      <a:pt x="908" y="1791"/>
                      <a:pt x="550" y="1791"/>
                      <a:pt x="192" y="1792"/>
                    </a:cubicBezTo>
                    <a:cubicBezTo>
                      <a:pt x="131" y="1792"/>
                      <a:pt x="86" y="1767"/>
                      <a:pt x="53" y="1721"/>
                    </a:cubicBezTo>
                    <a:cubicBezTo>
                      <a:pt x="9" y="1660"/>
                      <a:pt x="0" y="1596"/>
                      <a:pt x="36" y="1526"/>
                    </a:cubicBezTo>
                    <a:cubicBezTo>
                      <a:pt x="176" y="1254"/>
                      <a:pt x="316" y="981"/>
                      <a:pt x="456" y="709"/>
                    </a:cubicBezTo>
                    <a:cubicBezTo>
                      <a:pt x="459" y="701"/>
                      <a:pt x="462" y="693"/>
                      <a:pt x="462" y="684"/>
                    </a:cubicBezTo>
                    <a:cubicBezTo>
                      <a:pt x="463" y="524"/>
                      <a:pt x="463" y="364"/>
                      <a:pt x="464" y="204"/>
                    </a:cubicBezTo>
                    <a:cubicBezTo>
                      <a:pt x="464" y="201"/>
                      <a:pt x="463" y="198"/>
                      <a:pt x="462" y="191"/>
                    </a:cubicBezTo>
                    <a:close/>
                    <a:moveTo>
                      <a:pt x="528" y="128"/>
                    </a:moveTo>
                    <a:cubicBezTo>
                      <a:pt x="528" y="139"/>
                      <a:pt x="528" y="147"/>
                      <a:pt x="528" y="155"/>
                    </a:cubicBezTo>
                    <a:cubicBezTo>
                      <a:pt x="528" y="329"/>
                      <a:pt x="528" y="503"/>
                      <a:pt x="527" y="677"/>
                    </a:cubicBezTo>
                    <a:cubicBezTo>
                      <a:pt x="527" y="690"/>
                      <a:pt x="524" y="704"/>
                      <a:pt x="518" y="715"/>
                    </a:cubicBezTo>
                    <a:cubicBezTo>
                      <a:pt x="375" y="996"/>
                      <a:pt x="232" y="1277"/>
                      <a:pt x="88" y="1558"/>
                    </a:cubicBezTo>
                    <a:cubicBezTo>
                      <a:pt x="53" y="1628"/>
                      <a:pt x="113" y="1727"/>
                      <a:pt x="191" y="1727"/>
                    </a:cubicBezTo>
                    <a:cubicBezTo>
                      <a:pt x="545" y="1727"/>
                      <a:pt x="898" y="1727"/>
                      <a:pt x="1251" y="1727"/>
                    </a:cubicBezTo>
                    <a:cubicBezTo>
                      <a:pt x="1294" y="1727"/>
                      <a:pt x="1324" y="1703"/>
                      <a:pt x="1344" y="1668"/>
                    </a:cubicBezTo>
                    <a:cubicBezTo>
                      <a:pt x="1365" y="1633"/>
                      <a:pt x="1372" y="1594"/>
                      <a:pt x="1350" y="1556"/>
                    </a:cubicBezTo>
                    <a:cubicBezTo>
                      <a:pt x="1190" y="1282"/>
                      <a:pt x="1031" y="1007"/>
                      <a:pt x="871" y="733"/>
                    </a:cubicBezTo>
                    <a:cubicBezTo>
                      <a:pt x="856" y="707"/>
                      <a:pt x="849" y="681"/>
                      <a:pt x="849" y="652"/>
                    </a:cubicBezTo>
                    <a:cubicBezTo>
                      <a:pt x="849" y="484"/>
                      <a:pt x="849" y="316"/>
                      <a:pt x="849" y="148"/>
                    </a:cubicBezTo>
                    <a:cubicBezTo>
                      <a:pt x="848" y="142"/>
                      <a:pt x="849" y="135"/>
                      <a:pt x="849" y="128"/>
                    </a:cubicBezTo>
                    <a:cubicBezTo>
                      <a:pt x="883" y="128"/>
                      <a:pt x="914" y="128"/>
                      <a:pt x="946" y="127"/>
                    </a:cubicBezTo>
                    <a:cubicBezTo>
                      <a:pt x="964" y="127"/>
                      <a:pt x="976" y="113"/>
                      <a:pt x="976" y="97"/>
                    </a:cubicBezTo>
                    <a:cubicBezTo>
                      <a:pt x="977" y="80"/>
                      <a:pt x="963" y="66"/>
                      <a:pt x="945" y="64"/>
                    </a:cubicBezTo>
                    <a:cubicBezTo>
                      <a:pt x="941" y="64"/>
                      <a:pt x="937" y="64"/>
                      <a:pt x="933" y="64"/>
                    </a:cubicBezTo>
                    <a:cubicBezTo>
                      <a:pt x="770" y="64"/>
                      <a:pt x="608" y="64"/>
                      <a:pt x="445" y="64"/>
                    </a:cubicBezTo>
                    <a:cubicBezTo>
                      <a:pt x="439" y="64"/>
                      <a:pt x="433" y="64"/>
                      <a:pt x="427" y="65"/>
                    </a:cubicBezTo>
                    <a:cubicBezTo>
                      <a:pt x="408" y="68"/>
                      <a:pt x="396" y="88"/>
                      <a:pt x="403" y="106"/>
                    </a:cubicBezTo>
                    <a:cubicBezTo>
                      <a:pt x="408" y="122"/>
                      <a:pt x="420" y="128"/>
                      <a:pt x="437" y="128"/>
                    </a:cubicBezTo>
                    <a:cubicBezTo>
                      <a:pt x="466" y="128"/>
                      <a:pt x="496" y="128"/>
                      <a:pt x="528" y="1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1" name="Freeform 42">
                <a:extLst>
                  <a:ext uri="{FF2B5EF4-FFF2-40B4-BE49-F238E27FC236}">
                    <a16:creationId xmlns:a16="http://schemas.microsoft.com/office/drawing/2014/main" id="{D088B1E6-9DC6-443D-8C8A-2326590174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2" y="107"/>
                <a:ext cx="194" cy="192"/>
              </a:xfrm>
              <a:custGeom>
                <a:avLst/>
                <a:gdLst>
                  <a:gd name="T0" fmla="*/ 65 w 129"/>
                  <a:gd name="T1" fmla="*/ 128 h 128"/>
                  <a:gd name="T2" fmla="*/ 1 w 129"/>
                  <a:gd name="T3" fmla="*/ 65 h 128"/>
                  <a:gd name="T4" fmla="*/ 64 w 129"/>
                  <a:gd name="T5" fmla="*/ 0 h 128"/>
                  <a:gd name="T6" fmla="*/ 128 w 129"/>
                  <a:gd name="T7" fmla="*/ 64 h 128"/>
                  <a:gd name="T8" fmla="*/ 65 w 129"/>
                  <a:gd name="T9" fmla="*/ 12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" h="128">
                    <a:moveTo>
                      <a:pt x="65" y="128"/>
                    </a:moveTo>
                    <a:cubicBezTo>
                      <a:pt x="30" y="128"/>
                      <a:pt x="1" y="101"/>
                      <a:pt x="1" y="65"/>
                    </a:cubicBezTo>
                    <a:cubicBezTo>
                      <a:pt x="0" y="29"/>
                      <a:pt x="29" y="0"/>
                      <a:pt x="64" y="0"/>
                    </a:cubicBezTo>
                    <a:cubicBezTo>
                      <a:pt x="99" y="0"/>
                      <a:pt x="128" y="29"/>
                      <a:pt x="128" y="64"/>
                    </a:cubicBezTo>
                    <a:cubicBezTo>
                      <a:pt x="129" y="98"/>
                      <a:pt x="100" y="127"/>
                      <a:pt x="65" y="1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2" name="Freeform 43">
                <a:extLst>
                  <a:ext uri="{FF2B5EF4-FFF2-40B4-BE49-F238E27FC236}">
                    <a16:creationId xmlns:a16="http://schemas.microsoft.com/office/drawing/2014/main" id="{463D57CE-6C01-44F6-99DC-70318E68C5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8" y="203"/>
                <a:ext cx="193" cy="192"/>
              </a:xfrm>
              <a:custGeom>
                <a:avLst/>
                <a:gdLst>
                  <a:gd name="T0" fmla="*/ 63 w 128"/>
                  <a:gd name="T1" fmla="*/ 128 h 128"/>
                  <a:gd name="T2" fmla="*/ 0 w 128"/>
                  <a:gd name="T3" fmla="*/ 64 h 128"/>
                  <a:gd name="T4" fmla="*/ 63 w 128"/>
                  <a:gd name="T5" fmla="*/ 0 h 128"/>
                  <a:gd name="T6" fmla="*/ 127 w 128"/>
                  <a:gd name="T7" fmla="*/ 65 h 128"/>
                  <a:gd name="T8" fmla="*/ 63 w 128"/>
                  <a:gd name="T9" fmla="*/ 12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8" h="128">
                    <a:moveTo>
                      <a:pt x="63" y="128"/>
                    </a:moveTo>
                    <a:cubicBezTo>
                      <a:pt x="28" y="128"/>
                      <a:pt x="0" y="100"/>
                      <a:pt x="0" y="64"/>
                    </a:cubicBezTo>
                    <a:cubicBezTo>
                      <a:pt x="0" y="29"/>
                      <a:pt x="28" y="0"/>
                      <a:pt x="63" y="0"/>
                    </a:cubicBezTo>
                    <a:cubicBezTo>
                      <a:pt x="98" y="0"/>
                      <a:pt x="128" y="30"/>
                      <a:pt x="127" y="65"/>
                    </a:cubicBezTo>
                    <a:cubicBezTo>
                      <a:pt x="127" y="100"/>
                      <a:pt x="98" y="128"/>
                      <a:pt x="63" y="1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303" name="Freeform 45">
                <a:extLst>
                  <a:ext uri="{FF2B5EF4-FFF2-40B4-BE49-F238E27FC236}">
                    <a16:creationId xmlns:a16="http://schemas.microsoft.com/office/drawing/2014/main" id="{F31D42CD-F82F-4179-98AA-CF92CCC75A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3" y="1773"/>
                <a:ext cx="1771" cy="1172"/>
              </a:xfrm>
              <a:custGeom>
                <a:avLst/>
                <a:gdLst>
                  <a:gd name="T0" fmla="*/ 805 w 1178"/>
                  <a:gd name="T1" fmla="*/ 78 h 781"/>
                  <a:gd name="T2" fmla="*/ 936 w 1178"/>
                  <a:gd name="T3" fmla="*/ 306 h 781"/>
                  <a:gd name="T4" fmla="*/ 1154 w 1178"/>
                  <a:gd name="T5" fmla="*/ 685 h 781"/>
                  <a:gd name="T6" fmla="*/ 1098 w 1178"/>
                  <a:gd name="T7" fmla="*/ 781 h 781"/>
                  <a:gd name="T8" fmla="*/ 79 w 1178"/>
                  <a:gd name="T9" fmla="*/ 781 h 781"/>
                  <a:gd name="T10" fmla="*/ 21 w 1178"/>
                  <a:gd name="T11" fmla="*/ 689 h 781"/>
                  <a:gd name="T12" fmla="*/ 329 w 1178"/>
                  <a:gd name="T13" fmla="*/ 84 h 781"/>
                  <a:gd name="T14" fmla="*/ 502 w 1178"/>
                  <a:gd name="T15" fmla="*/ 33 h 781"/>
                  <a:gd name="T16" fmla="*/ 569 w 1178"/>
                  <a:gd name="T17" fmla="*/ 83 h 781"/>
                  <a:gd name="T18" fmla="*/ 655 w 1178"/>
                  <a:gd name="T19" fmla="*/ 132 h 781"/>
                  <a:gd name="T20" fmla="*/ 787 w 1178"/>
                  <a:gd name="T21" fmla="*/ 92 h 781"/>
                  <a:gd name="T22" fmla="*/ 802 w 1178"/>
                  <a:gd name="T23" fmla="*/ 79 h 781"/>
                  <a:gd name="T24" fmla="*/ 805 w 1178"/>
                  <a:gd name="T25" fmla="*/ 78 h 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78" h="781">
                    <a:moveTo>
                      <a:pt x="805" y="78"/>
                    </a:moveTo>
                    <a:cubicBezTo>
                      <a:pt x="849" y="154"/>
                      <a:pt x="892" y="230"/>
                      <a:pt x="936" y="306"/>
                    </a:cubicBezTo>
                    <a:cubicBezTo>
                      <a:pt x="1008" y="433"/>
                      <a:pt x="1079" y="560"/>
                      <a:pt x="1154" y="685"/>
                    </a:cubicBezTo>
                    <a:cubicBezTo>
                      <a:pt x="1178" y="727"/>
                      <a:pt x="1146" y="781"/>
                      <a:pt x="1098" y="781"/>
                    </a:cubicBezTo>
                    <a:cubicBezTo>
                      <a:pt x="758" y="780"/>
                      <a:pt x="419" y="780"/>
                      <a:pt x="79" y="781"/>
                    </a:cubicBezTo>
                    <a:cubicBezTo>
                      <a:pt x="32" y="781"/>
                      <a:pt x="0" y="730"/>
                      <a:pt x="21" y="689"/>
                    </a:cubicBezTo>
                    <a:cubicBezTo>
                      <a:pt x="125" y="488"/>
                      <a:pt x="226" y="286"/>
                      <a:pt x="329" y="84"/>
                    </a:cubicBezTo>
                    <a:cubicBezTo>
                      <a:pt x="359" y="25"/>
                      <a:pt x="441" y="0"/>
                      <a:pt x="502" y="33"/>
                    </a:cubicBezTo>
                    <a:cubicBezTo>
                      <a:pt x="527" y="46"/>
                      <a:pt x="548" y="65"/>
                      <a:pt x="569" y="83"/>
                    </a:cubicBezTo>
                    <a:cubicBezTo>
                      <a:pt x="595" y="105"/>
                      <a:pt x="622" y="124"/>
                      <a:pt x="655" y="132"/>
                    </a:cubicBezTo>
                    <a:cubicBezTo>
                      <a:pt x="707" y="144"/>
                      <a:pt x="749" y="125"/>
                      <a:pt x="787" y="92"/>
                    </a:cubicBezTo>
                    <a:cubicBezTo>
                      <a:pt x="792" y="88"/>
                      <a:pt x="797" y="83"/>
                      <a:pt x="802" y="79"/>
                    </a:cubicBezTo>
                    <a:cubicBezTo>
                      <a:pt x="803" y="78"/>
                      <a:pt x="803" y="78"/>
                      <a:pt x="805" y="7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6C51FD42-21B9-43D4-A8EC-538C27DA8AB0}"/>
                </a:ext>
              </a:extLst>
            </p:cNvPr>
            <p:cNvSpPr/>
            <p:nvPr userDrawn="1"/>
          </p:nvSpPr>
          <p:spPr>
            <a:xfrm rot="16200000" flipH="1">
              <a:off x="4544379" y="-398872"/>
              <a:ext cx="45719" cy="9153523"/>
            </a:xfrm>
            <a:prstGeom prst="rect">
              <a:avLst/>
            </a:prstGeom>
            <a:solidFill>
              <a:srgbClr val="009FDA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grpSp>
          <p:nvGrpSpPr>
            <p:cNvPr id="210" name="Group 209">
              <a:extLst>
                <a:ext uri="{FF2B5EF4-FFF2-40B4-BE49-F238E27FC236}">
                  <a16:creationId xmlns:a16="http://schemas.microsoft.com/office/drawing/2014/main" id="{14803907-D560-4C52-923A-1DF2E9E1A6F5}"/>
                </a:ext>
              </a:extLst>
            </p:cNvPr>
            <p:cNvGrpSpPr/>
            <p:nvPr userDrawn="1"/>
          </p:nvGrpSpPr>
          <p:grpSpPr>
            <a:xfrm>
              <a:off x="7503032" y="33559"/>
              <a:ext cx="698710" cy="623536"/>
              <a:chOff x="9190927" y="210961"/>
              <a:chExt cx="814733" cy="727076"/>
            </a:xfrm>
          </p:grpSpPr>
          <p:grpSp>
            <p:nvGrpSpPr>
              <p:cNvPr id="260" name="Group 4">
                <a:extLst>
                  <a:ext uri="{FF2B5EF4-FFF2-40B4-BE49-F238E27FC236}">
                    <a16:creationId xmlns:a16="http://schemas.microsoft.com/office/drawing/2014/main" id="{0CBE5023-0039-4304-BCDD-E27DA5F16008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367929" y="220799"/>
                <a:ext cx="244622" cy="423115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96" name="Freeform 5">
                  <a:extLst>
                    <a:ext uri="{FF2B5EF4-FFF2-40B4-BE49-F238E27FC236}">
                      <a16:creationId xmlns:a16="http://schemas.microsoft.com/office/drawing/2014/main" id="{EDD31BE2-22C1-4BC5-922F-4CB72895F8A8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7" name="Freeform 6">
                  <a:extLst>
                    <a:ext uri="{FF2B5EF4-FFF2-40B4-BE49-F238E27FC236}">
                      <a16:creationId xmlns:a16="http://schemas.microsoft.com/office/drawing/2014/main" id="{6BBE0D01-C90E-4D57-B4A9-6F4F707831F2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8" name="Freeform 7">
                  <a:extLst>
                    <a:ext uri="{FF2B5EF4-FFF2-40B4-BE49-F238E27FC236}">
                      <a16:creationId xmlns:a16="http://schemas.microsoft.com/office/drawing/2014/main" id="{D676979B-2804-4F29-9C34-252EB50C195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9" name="Oval 8">
                  <a:extLst>
                    <a:ext uri="{FF2B5EF4-FFF2-40B4-BE49-F238E27FC236}">
                      <a16:creationId xmlns:a16="http://schemas.microsoft.com/office/drawing/2014/main" id="{CEB6A559-E6E6-41D4-BA0C-4607522E77A4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1" name="Group 4">
                <a:extLst>
                  <a:ext uri="{FF2B5EF4-FFF2-40B4-BE49-F238E27FC236}">
                    <a16:creationId xmlns:a16="http://schemas.microsoft.com/office/drawing/2014/main" id="{A3FE6F58-C31C-44B3-8BA5-F6BB172BE64C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637922" y="210961"/>
                <a:ext cx="219948" cy="380438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92" name="Freeform 5">
                  <a:extLst>
                    <a:ext uri="{FF2B5EF4-FFF2-40B4-BE49-F238E27FC236}">
                      <a16:creationId xmlns:a16="http://schemas.microsoft.com/office/drawing/2014/main" id="{B7F56473-3D14-4ED1-A3EB-F4A7180B204A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3" name="Freeform 6">
                  <a:extLst>
                    <a:ext uri="{FF2B5EF4-FFF2-40B4-BE49-F238E27FC236}">
                      <a16:creationId xmlns:a16="http://schemas.microsoft.com/office/drawing/2014/main" id="{72638918-AF3C-4AD8-B88E-72A978B5350A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4" name="Freeform 7">
                  <a:extLst>
                    <a:ext uri="{FF2B5EF4-FFF2-40B4-BE49-F238E27FC236}">
                      <a16:creationId xmlns:a16="http://schemas.microsoft.com/office/drawing/2014/main" id="{EF4A916B-8649-409B-B1F6-6CF88B0474D8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5" name="Oval 8">
                  <a:extLst>
                    <a:ext uri="{FF2B5EF4-FFF2-40B4-BE49-F238E27FC236}">
                      <a16:creationId xmlns:a16="http://schemas.microsoft.com/office/drawing/2014/main" id="{9AA4566B-D9AC-4695-A9F4-9A643383DC1E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2" name="Group 4">
                <a:extLst>
                  <a:ext uri="{FF2B5EF4-FFF2-40B4-BE49-F238E27FC236}">
                    <a16:creationId xmlns:a16="http://schemas.microsoft.com/office/drawing/2014/main" id="{B0B2F3A2-BC34-454E-9C55-3C35D997374E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744999" y="332717"/>
                <a:ext cx="260661" cy="450858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88" name="Freeform 5">
                  <a:extLst>
                    <a:ext uri="{FF2B5EF4-FFF2-40B4-BE49-F238E27FC236}">
                      <a16:creationId xmlns:a16="http://schemas.microsoft.com/office/drawing/2014/main" id="{1ACDD0D5-65A5-4029-8B07-8E11EAF4320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9" name="Freeform 6">
                  <a:extLst>
                    <a:ext uri="{FF2B5EF4-FFF2-40B4-BE49-F238E27FC236}">
                      <a16:creationId xmlns:a16="http://schemas.microsoft.com/office/drawing/2014/main" id="{0147FADB-5CF5-40F2-84C0-BE04D218677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0" name="Freeform 7">
                  <a:extLst>
                    <a:ext uri="{FF2B5EF4-FFF2-40B4-BE49-F238E27FC236}">
                      <a16:creationId xmlns:a16="http://schemas.microsoft.com/office/drawing/2014/main" id="{BBFB1532-9FAC-4535-8AFB-2F1CA587270E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91" name="Oval 8">
                  <a:extLst>
                    <a:ext uri="{FF2B5EF4-FFF2-40B4-BE49-F238E27FC236}">
                      <a16:creationId xmlns:a16="http://schemas.microsoft.com/office/drawing/2014/main" id="{FB0D6103-8662-459A-ACF3-33EFA6C9CC71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3" name="Group 4">
                <a:extLst>
                  <a:ext uri="{FF2B5EF4-FFF2-40B4-BE49-F238E27FC236}">
                    <a16:creationId xmlns:a16="http://schemas.microsoft.com/office/drawing/2014/main" id="{3DCF2843-CFBB-4FAD-90E5-79F019ED5AED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459507" y="281043"/>
                <a:ext cx="260661" cy="450858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84" name="Freeform 5">
                  <a:extLst>
                    <a:ext uri="{FF2B5EF4-FFF2-40B4-BE49-F238E27FC236}">
                      <a16:creationId xmlns:a16="http://schemas.microsoft.com/office/drawing/2014/main" id="{2AE913A6-998B-49EF-89B8-F63A13A22BFD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5" name="Freeform 6">
                  <a:extLst>
                    <a:ext uri="{FF2B5EF4-FFF2-40B4-BE49-F238E27FC236}">
                      <a16:creationId xmlns:a16="http://schemas.microsoft.com/office/drawing/2014/main" id="{65C8582C-E643-418C-A010-5F15F45C432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6" name="Freeform 7">
                  <a:extLst>
                    <a:ext uri="{FF2B5EF4-FFF2-40B4-BE49-F238E27FC236}">
                      <a16:creationId xmlns:a16="http://schemas.microsoft.com/office/drawing/2014/main" id="{96D1807B-E19F-4F7F-BDB3-8066EEED8DAD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7" name="Oval 8">
                  <a:extLst>
                    <a:ext uri="{FF2B5EF4-FFF2-40B4-BE49-F238E27FC236}">
                      <a16:creationId xmlns:a16="http://schemas.microsoft.com/office/drawing/2014/main" id="{F17264AA-43ED-4DE9-B39D-B6B3E23949D3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4" name="Group 4">
                <a:extLst>
                  <a:ext uri="{FF2B5EF4-FFF2-40B4-BE49-F238E27FC236}">
                    <a16:creationId xmlns:a16="http://schemas.microsoft.com/office/drawing/2014/main" id="{BD8DC4EA-65FB-4225-8252-899220756DFB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190927" y="300470"/>
                <a:ext cx="260661" cy="450858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80" name="Freeform 5">
                  <a:extLst>
                    <a:ext uri="{FF2B5EF4-FFF2-40B4-BE49-F238E27FC236}">
                      <a16:creationId xmlns:a16="http://schemas.microsoft.com/office/drawing/2014/main" id="{84AAA033-F6F4-4E75-8129-5A9B87697D4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1" name="Freeform 6">
                  <a:extLst>
                    <a:ext uri="{FF2B5EF4-FFF2-40B4-BE49-F238E27FC236}">
                      <a16:creationId xmlns:a16="http://schemas.microsoft.com/office/drawing/2014/main" id="{49F142C7-2552-4C79-81A9-CE6F8C8C70E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2" name="Freeform 7">
                  <a:extLst>
                    <a:ext uri="{FF2B5EF4-FFF2-40B4-BE49-F238E27FC236}">
                      <a16:creationId xmlns:a16="http://schemas.microsoft.com/office/drawing/2014/main" id="{674C8007-12A0-4FF8-810C-36637ACB4910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83" name="Oval 8">
                  <a:extLst>
                    <a:ext uri="{FF2B5EF4-FFF2-40B4-BE49-F238E27FC236}">
                      <a16:creationId xmlns:a16="http://schemas.microsoft.com/office/drawing/2014/main" id="{D0BAE79C-B03D-4D3C-BD22-EEA214D70890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5" name="Group 4">
                <a:extLst>
                  <a:ext uri="{FF2B5EF4-FFF2-40B4-BE49-F238E27FC236}">
                    <a16:creationId xmlns:a16="http://schemas.microsoft.com/office/drawing/2014/main" id="{10374411-5B9A-4473-9C11-D230B90AF64A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271744" y="330406"/>
                <a:ext cx="320214" cy="553865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76" name="Freeform 5">
                  <a:extLst>
                    <a:ext uri="{FF2B5EF4-FFF2-40B4-BE49-F238E27FC236}">
                      <a16:creationId xmlns:a16="http://schemas.microsoft.com/office/drawing/2014/main" id="{27467283-7DA6-4FF1-87E0-1C9B77064C2B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7" name="Freeform 6">
                  <a:extLst>
                    <a:ext uri="{FF2B5EF4-FFF2-40B4-BE49-F238E27FC236}">
                      <a16:creationId xmlns:a16="http://schemas.microsoft.com/office/drawing/2014/main" id="{9ACB551F-B9E7-45AB-874B-9FDF36E692C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8" name="Freeform 7">
                  <a:extLst>
                    <a:ext uri="{FF2B5EF4-FFF2-40B4-BE49-F238E27FC236}">
                      <a16:creationId xmlns:a16="http://schemas.microsoft.com/office/drawing/2014/main" id="{26F640E1-57DA-4046-8A92-F0337A7CE83D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9" name="Oval 8">
                  <a:extLst>
                    <a:ext uri="{FF2B5EF4-FFF2-40B4-BE49-F238E27FC236}">
                      <a16:creationId xmlns:a16="http://schemas.microsoft.com/office/drawing/2014/main" id="{B04EE586-93D1-40F1-8366-8BD4CB9702B5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6" name="Group 4">
                <a:extLst>
                  <a:ext uri="{FF2B5EF4-FFF2-40B4-BE49-F238E27FC236}">
                    <a16:creationId xmlns:a16="http://schemas.microsoft.com/office/drawing/2014/main" id="{3030F8B8-1387-492B-9469-4CB8CC585AA9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606225" y="327054"/>
                <a:ext cx="320214" cy="553865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72" name="Freeform 5">
                  <a:extLst>
                    <a:ext uri="{FF2B5EF4-FFF2-40B4-BE49-F238E27FC236}">
                      <a16:creationId xmlns:a16="http://schemas.microsoft.com/office/drawing/2014/main" id="{0ED9C729-AD53-4DA4-BF8E-21398571CF3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3" name="Freeform 6">
                  <a:extLst>
                    <a:ext uri="{FF2B5EF4-FFF2-40B4-BE49-F238E27FC236}">
                      <a16:creationId xmlns:a16="http://schemas.microsoft.com/office/drawing/2014/main" id="{84538DF4-47E6-4B0A-A82F-0E89627CB8A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4" name="Freeform 7">
                  <a:extLst>
                    <a:ext uri="{FF2B5EF4-FFF2-40B4-BE49-F238E27FC236}">
                      <a16:creationId xmlns:a16="http://schemas.microsoft.com/office/drawing/2014/main" id="{2984A441-6432-4AD7-9D1F-6A121A4B42D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5" name="Oval 8">
                  <a:extLst>
                    <a:ext uri="{FF2B5EF4-FFF2-40B4-BE49-F238E27FC236}">
                      <a16:creationId xmlns:a16="http://schemas.microsoft.com/office/drawing/2014/main" id="{3C2D3B7A-6663-40C8-A94E-8A930B20CA7F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67" name="Group 4">
                <a:extLst>
                  <a:ext uri="{FF2B5EF4-FFF2-40B4-BE49-F238E27FC236}">
                    <a16:creationId xmlns:a16="http://schemas.microsoft.com/office/drawing/2014/main" id="{8C1CBFB2-C334-4632-B641-74D726FCC594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451038" y="384172"/>
                <a:ext cx="320214" cy="553865"/>
                <a:chOff x="2406" y="802"/>
                <a:chExt cx="947" cy="1638"/>
              </a:xfrm>
              <a:solidFill>
                <a:srgbClr val="FFFFFF"/>
              </a:solidFill>
            </p:grpSpPr>
            <p:sp>
              <p:nvSpPr>
                <p:cNvPr id="268" name="Freeform 5">
                  <a:extLst>
                    <a:ext uri="{FF2B5EF4-FFF2-40B4-BE49-F238E27FC236}">
                      <a16:creationId xmlns:a16="http://schemas.microsoft.com/office/drawing/2014/main" id="{2CD22FC3-C7EC-48DE-ABA3-B8D098E4589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69" name="Freeform 6">
                  <a:extLst>
                    <a:ext uri="{FF2B5EF4-FFF2-40B4-BE49-F238E27FC236}">
                      <a16:creationId xmlns:a16="http://schemas.microsoft.com/office/drawing/2014/main" id="{6477FEEF-44B3-46A1-9093-C94D4C339AD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0" name="Freeform 7">
                  <a:extLst>
                    <a:ext uri="{FF2B5EF4-FFF2-40B4-BE49-F238E27FC236}">
                      <a16:creationId xmlns:a16="http://schemas.microsoft.com/office/drawing/2014/main" id="{975081A2-5152-480A-BB68-69D3BB1FEA83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71" name="Oval 8">
                  <a:extLst>
                    <a:ext uri="{FF2B5EF4-FFF2-40B4-BE49-F238E27FC236}">
                      <a16:creationId xmlns:a16="http://schemas.microsoft.com/office/drawing/2014/main" id="{F3BB9AF9-894A-453F-8666-4C20FD4AC1D6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9525">
                  <a:solidFill>
                    <a:srgbClr val="3895C4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</p:grpSp>
        <p:grpSp>
          <p:nvGrpSpPr>
            <p:cNvPr id="211" name="Group 210">
              <a:extLst>
                <a:ext uri="{FF2B5EF4-FFF2-40B4-BE49-F238E27FC236}">
                  <a16:creationId xmlns:a16="http://schemas.microsoft.com/office/drawing/2014/main" id="{4A23F8AB-14DF-4165-9BEF-1A7F56582A23}"/>
                </a:ext>
              </a:extLst>
            </p:cNvPr>
            <p:cNvGrpSpPr/>
            <p:nvPr userDrawn="1"/>
          </p:nvGrpSpPr>
          <p:grpSpPr>
            <a:xfrm>
              <a:off x="3350951" y="3531233"/>
              <a:ext cx="455447" cy="406446"/>
              <a:chOff x="9190927" y="210961"/>
              <a:chExt cx="814733" cy="727076"/>
            </a:xfrm>
            <a:solidFill>
              <a:srgbClr val="61A4C8"/>
            </a:solidFill>
          </p:grpSpPr>
          <p:grpSp>
            <p:nvGrpSpPr>
              <p:cNvPr id="220" name="Group 4">
                <a:extLst>
                  <a:ext uri="{FF2B5EF4-FFF2-40B4-BE49-F238E27FC236}">
                    <a16:creationId xmlns:a16="http://schemas.microsoft.com/office/drawing/2014/main" id="{D66F3FBF-785D-4908-9868-6A9475BA298E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367929" y="220799"/>
                <a:ext cx="244622" cy="423115"/>
                <a:chOff x="2406" y="802"/>
                <a:chExt cx="947" cy="1638"/>
              </a:xfrm>
              <a:grpFill/>
            </p:grpSpPr>
            <p:sp>
              <p:nvSpPr>
                <p:cNvPr id="256" name="Freeform 5">
                  <a:extLst>
                    <a:ext uri="{FF2B5EF4-FFF2-40B4-BE49-F238E27FC236}">
                      <a16:creationId xmlns:a16="http://schemas.microsoft.com/office/drawing/2014/main" id="{5E3B00E1-9CBF-40DF-AB27-6AD172D3CC29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7" name="Freeform 6">
                  <a:extLst>
                    <a:ext uri="{FF2B5EF4-FFF2-40B4-BE49-F238E27FC236}">
                      <a16:creationId xmlns:a16="http://schemas.microsoft.com/office/drawing/2014/main" id="{CBA5E845-E86C-4AAA-9703-8E64F2FE3BC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8" name="Freeform 7">
                  <a:extLst>
                    <a:ext uri="{FF2B5EF4-FFF2-40B4-BE49-F238E27FC236}">
                      <a16:creationId xmlns:a16="http://schemas.microsoft.com/office/drawing/2014/main" id="{4169DED7-041F-4105-AA2F-1561D31171F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9" name="Oval 8">
                  <a:extLst>
                    <a:ext uri="{FF2B5EF4-FFF2-40B4-BE49-F238E27FC236}">
                      <a16:creationId xmlns:a16="http://schemas.microsoft.com/office/drawing/2014/main" id="{3D90A6CD-CF9D-4F2C-94CF-F2A6C2E3F287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1" name="Group 4">
                <a:extLst>
                  <a:ext uri="{FF2B5EF4-FFF2-40B4-BE49-F238E27FC236}">
                    <a16:creationId xmlns:a16="http://schemas.microsoft.com/office/drawing/2014/main" id="{73C971E8-1B28-4102-960B-98469801DFF7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637922" y="210961"/>
                <a:ext cx="219948" cy="380438"/>
                <a:chOff x="2406" y="802"/>
                <a:chExt cx="947" cy="1638"/>
              </a:xfrm>
              <a:grpFill/>
            </p:grpSpPr>
            <p:sp>
              <p:nvSpPr>
                <p:cNvPr id="252" name="Freeform 5">
                  <a:extLst>
                    <a:ext uri="{FF2B5EF4-FFF2-40B4-BE49-F238E27FC236}">
                      <a16:creationId xmlns:a16="http://schemas.microsoft.com/office/drawing/2014/main" id="{06121D32-2504-4C10-A65A-265271F6D8F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3" name="Freeform 6">
                  <a:extLst>
                    <a:ext uri="{FF2B5EF4-FFF2-40B4-BE49-F238E27FC236}">
                      <a16:creationId xmlns:a16="http://schemas.microsoft.com/office/drawing/2014/main" id="{99D66AE0-80BB-4FF5-B669-28B633BE280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4" name="Freeform 7">
                  <a:extLst>
                    <a:ext uri="{FF2B5EF4-FFF2-40B4-BE49-F238E27FC236}">
                      <a16:creationId xmlns:a16="http://schemas.microsoft.com/office/drawing/2014/main" id="{C6156161-4336-4109-8A1A-160D63DC9C64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5" name="Oval 8">
                  <a:extLst>
                    <a:ext uri="{FF2B5EF4-FFF2-40B4-BE49-F238E27FC236}">
                      <a16:creationId xmlns:a16="http://schemas.microsoft.com/office/drawing/2014/main" id="{626ABDD2-9C2E-4574-AE92-C404A88E8E4D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2" name="Group 4">
                <a:extLst>
                  <a:ext uri="{FF2B5EF4-FFF2-40B4-BE49-F238E27FC236}">
                    <a16:creationId xmlns:a16="http://schemas.microsoft.com/office/drawing/2014/main" id="{9B76A1A3-936B-4FB1-9090-EAA8A6570AB6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744999" y="332717"/>
                <a:ext cx="260661" cy="450858"/>
                <a:chOff x="2406" y="802"/>
                <a:chExt cx="947" cy="1638"/>
              </a:xfrm>
              <a:grpFill/>
            </p:grpSpPr>
            <p:sp>
              <p:nvSpPr>
                <p:cNvPr id="248" name="Freeform 5">
                  <a:extLst>
                    <a:ext uri="{FF2B5EF4-FFF2-40B4-BE49-F238E27FC236}">
                      <a16:creationId xmlns:a16="http://schemas.microsoft.com/office/drawing/2014/main" id="{B69B3006-E75A-46B4-BE2F-E354B6A8F318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9" name="Freeform 6">
                  <a:extLst>
                    <a:ext uri="{FF2B5EF4-FFF2-40B4-BE49-F238E27FC236}">
                      <a16:creationId xmlns:a16="http://schemas.microsoft.com/office/drawing/2014/main" id="{41282BAA-B774-4B18-B78D-9FF58930302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0" name="Freeform 7">
                  <a:extLst>
                    <a:ext uri="{FF2B5EF4-FFF2-40B4-BE49-F238E27FC236}">
                      <a16:creationId xmlns:a16="http://schemas.microsoft.com/office/drawing/2014/main" id="{025C13ED-45F4-40F4-A461-044FD06833DE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51" name="Oval 8">
                  <a:extLst>
                    <a:ext uri="{FF2B5EF4-FFF2-40B4-BE49-F238E27FC236}">
                      <a16:creationId xmlns:a16="http://schemas.microsoft.com/office/drawing/2014/main" id="{99A530D7-03AD-4F94-9BEA-266A036A0205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3" name="Group 4">
                <a:extLst>
                  <a:ext uri="{FF2B5EF4-FFF2-40B4-BE49-F238E27FC236}">
                    <a16:creationId xmlns:a16="http://schemas.microsoft.com/office/drawing/2014/main" id="{C68C6270-7926-435C-80E6-B0074CA5B426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459507" y="281043"/>
                <a:ext cx="260661" cy="450858"/>
                <a:chOff x="2406" y="802"/>
                <a:chExt cx="947" cy="1638"/>
              </a:xfrm>
              <a:grpFill/>
            </p:grpSpPr>
            <p:sp>
              <p:nvSpPr>
                <p:cNvPr id="244" name="Freeform 5">
                  <a:extLst>
                    <a:ext uri="{FF2B5EF4-FFF2-40B4-BE49-F238E27FC236}">
                      <a16:creationId xmlns:a16="http://schemas.microsoft.com/office/drawing/2014/main" id="{1DE37ABB-9864-4266-8D2B-7A33E6F7AD9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5" name="Freeform 6">
                  <a:extLst>
                    <a:ext uri="{FF2B5EF4-FFF2-40B4-BE49-F238E27FC236}">
                      <a16:creationId xmlns:a16="http://schemas.microsoft.com/office/drawing/2014/main" id="{9F7FCA9E-6B16-44F2-942A-A2BC6C3C38C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6" name="Freeform 7">
                  <a:extLst>
                    <a:ext uri="{FF2B5EF4-FFF2-40B4-BE49-F238E27FC236}">
                      <a16:creationId xmlns:a16="http://schemas.microsoft.com/office/drawing/2014/main" id="{CB77EBD5-087B-4448-B2EA-B6605EE2C921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7" name="Oval 8">
                  <a:extLst>
                    <a:ext uri="{FF2B5EF4-FFF2-40B4-BE49-F238E27FC236}">
                      <a16:creationId xmlns:a16="http://schemas.microsoft.com/office/drawing/2014/main" id="{DAC830F4-47DF-41B1-ACA5-8530266DC8FF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4" name="Group 4">
                <a:extLst>
                  <a:ext uri="{FF2B5EF4-FFF2-40B4-BE49-F238E27FC236}">
                    <a16:creationId xmlns:a16="http://schemas.microsoft.com/office/drawing/2014/main" id="{E70D1B36-412B-48EC-B5EA-1B0D94E6A6C1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190927" y="300470"/>
                <a:ext cx="260661" cy="450858"/>
                <a:chOff x="2406" y="802"/>
                <a:chExt cx="947" cy="1638"/>
              </a:xfrm>
              <a:grpFill/>
            </p:grpSpPr>
            <p:sp>
              <p:nvSpPr>
                <p:cNvPr id="240" name="Freeform 5">
                  <a:extLst>
                    <a:ext uri="{FF2B5EF4-FFF2-40B4-BE49-F238E27FC236}">
                      <a16:creationId xmlns:a16="http://schemas.microsoft.com/office/drawing/2014/main" id="{5D177913-3023-4394-85DE-4C1E164E8B96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1" name="Freeform 6">
                  <a:extLst>
                    <a:ext uri="{FF2B5EF4-FFF2-40B4-BE49-F238E27FC236}">
                      <a16:creationId xmlns:a16="http://schemas.microsoft.com/office/drawing/2014/main" id="{166D15AE-2B0F-441F-AE30-93616AD72E98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2" name="Freeform 7">
                  <a:extLst>
                    <a:ext uri="{FF2B5EF4-FFF2-40B4-BE49-F238E27FC236}">
                      <a16:creationId xmlns:a16="http://schemas.microsoft.com/office/drawing/2014/main" id="{D59BC07B-6358-4347-90E3-5111237705F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43" name="Oval 8">
                  <a:extLst>
                    <a:ext uri="{FF2B5EF4-FFF2-40B4-BE49-F238E27FC236}">
                      <a16:creationId xmlns:a16="http://schemas.microsoft.com/office/drawing/2014/main" id="{C0BBCCE4-E14C-4891-A519-3F5C8C7CA40C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5" name="Group 4">
                <a:extLst>
                  <a:ext uri="{FF2B5EF4-FFF2-40B4-BE49-F238E27FC236}">
                    <a16:creationId xmlns:a16="http://schemas.microsoft.com/office/drawing/2014/main" id="{AECA6FB2-3569-4C8A-B0AD-C303E3ACE1B4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271744" y="330406"/>
                <a:ext cx="320214" cy="553865"/>
                <a:chOff x="2406" y="802"/>
                <a:chExt cx="947" cy="1638"/>
              </a:xfrm>
              <a:grpFill/>
            </p:grpSpPr>
            <p:sp>
              <p:nvSpPr>
                <p:cNvPr id="236" name="Freeform 5">
                  <a:extLst>
                    <a:ext uri="{FF2B5EF4-FFF2-40B4-BE49-F238E27FC236}">
                      <a16:creationId xmlns:a16="http://schemas.microsoft.com/office/drawing/2014/main" id="{C962D0D7-0CAD-44AC-8BEC-2DE1321B5177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7" name="Freeform 6">
                  <a:extLst>
                    <a:ext uri="{FF2B5EF4-FFF2-40B4-BE49-F238E27FC236}">
                      <a16:creationId xmlns:a16="http://schemas.microsoft.com/office/drawing/2014/main" id="{2156416E-E0D8-4A98-9B0E-8F64783036F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8" name="Freeform 7">
                  <a:extLst>
                    <a:ext uri="{FF2B5EF4-FFF2-40B4-BE49-F238E27FC236}">
                      <a16:creationId xmlns:a16="http://schemas.microsoft.com/office/drawing/2014/main" id="{5565C699-1C68-4111-92C6-4E7E1E13179D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9" name="Oval 8">
                  <a:extLst>
                    <a:ext uri="{FF2B5EF4-FFF2-40B4-BE49-F238E27FC236}">
                      <a16:creationId xmlns:a16="http://schemas.microsoft.com/office/drawing/2014/main" id="{0396453D-2B5B-49E9-B03B-C6F38B956B35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6" name="Group 4">
                <a:extLst>
                  <a:ext uri="{FF2B5EF4-FFF2-40B4-BE49-F238E27FC236}">
                    <a16:creationId xmlns:a16="http://schemas.microsoft.com/office/drawing/2014/main" id="{0C4FD1FD-DF38-4AE5-A941-93A1DEA49A18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606225" y="327054"/>
                <a:ext cx="320214" cy="553865"/>
                <a:chOff x="2406" y="802"/>
                <a:chExt cx="947" cy="1638"/>
              </a:xfrm>
              <a:grpFill/>
            </p:grpSpPr>
            <p:sp>
              <p:nvSpPr>
                <p:cNvPr id="232" name="Freeform 5">
                  <a:extLst>
                    <a:ext uri="{FF2B5EF4-FFF2-40B4-BE49-F238E27FC236}">
                      <a16:creationId xmlns:a16="http://schemas.microsoft.com/office/drawing/2014/main" id="{9227D54A-DA3E-4E8E-B55E-EC61DED7BDA1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3" name="Freeform 6">
                  <a:extLst>
                    <a:ext uri="{FF2B5EF4-FFF2-40B4-BE49-F238E27FC236}">
                      <a16:creationId xmlns:a16="http://schemas.microsoft.com/office/drawing/2014/main" id="{3D2580B2-3233-4A72-A8BA-749EBCC2092E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4" name="Freeform 7">
                  <a:extLst>
                    <a:ext uri="{FF2B5EF4-FFF2-40B4-BE49-F238E27FC236}">
                      <a16:creationId xmlns:a16="http://schemas.microsoft.com/office/drawing/2014/main" id="{8E76B529-5C6E-4833-9E71-AF33228C9E35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5" name="Oval 8">
                  <a:extLst>
                    <a:ext uri="{FF2B5EF4-FFF2-40B4-BE49-F238E27FC236}">
                      <a16:creationId xmlns:a16="http://schemas.microsoft.com/office/drawing/2014/main" id="{73C724B6-BF4F-47C3-B19A-48085D4E1ACC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  <p:grpSp>
            <p:nvGrpSpPr>
              <p:cNvPr id="227" name="Group 4">
                <a:extLst>
                  <a:ext uri="{FF2B5EF4-FFF2-40B4-BE49-F238E27FC236}">
                    <a16:creationId xmlns:a16="http://schemas.microsoft.com/office/drawing/2014/main" id="{5BB6D903-01C9-4DA9-94C3-F1BB0CB1179A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auto">
              <a:xfrm>
                <a:off x="9451038" y="384172"/>
                <a:ext cx="320214" cy="553865"/>
                <a:chOff x="2406" y="802"/>
                <a:chExt cx="947" cy="1638"/>
              </a:xfrm>
              <a:grpFill/>
            </p:grpSpPr>
            <p:sp>
              <p:nvSpPr>
                <p:cNvPr id="228" name="Freeform 5">
                  <a:extLst>
                    <a:ext uri="{FF2B5EF4-FFF2-40B4-BE49-F238E27FC236}">
                      <a16:creationId xmlns:a16="http://schemas.microsoft.com/office/drawing/2014/main" id="{3C3A5E97-FCE9-4FFF-B583-701D66F03C6F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406" y="1097"/>
                  <a:ext cx="947" cy="826"/>
                </a:xfrm>
                <a:custGeom>
                  <a:avLst/>
                  <a:gdLst>
                    <a:gd name="T0" fmla="*/ 92 w 627"/>
                    <a:gd name="T1" fmla="*/ 212 h 548"/>
                    <a:gd name="T2" fmla="*/ 105 w 627"/>
                    <a:gd name="T3" fmla="*/ 212 h 548"/>
                    <a:gd name="T4" fmla="*/ 74 w 627"/>
                    <a:gd name="T5" fmla="*/ 348 h 548"/>
                    <a:gd name="T6" fmla="*/ 313 w 627"/>
                    <a:gd name="T7" fmla="*/ 548 h 548"/>
                    <a:gd name="T8" fmla="*/ 553 w 627"/>
                    <a:gd name="T9" fmla="*/ 348 h 548"/>
                    <a:gd name="T10" fmla="*/ 522 w 627"/>
                    <a:gd name="T11" fmla="*/ 212 h 548"/>
                    <a:gd name="T12" fmla="*/ 535 w 627"/>
                    <a:gd name="T13" fmla="*/ 212 h 548"/>
                    <a:gd name="T14" fmla="*/ 565 w 627"/>
                    <a:gd name="T15" fmla="*/ 348 h 548"/>
                    <a:gd name="T16" fmla="*/ 519 w 627"/>
                    <a:gd name="T17" fmla="*/ 484 h 548"/>
                    <a:gd name="T18" fmla="*/ 556 w 627"/>
                    <a:gd name="T19" fmla="*/ 513 h 548"/>
                    <a:gd name="T20" fmla="*/ 561 w 627"/>
                    <a:gd name="T21" fmla="*/ 513 h 548"/>
                    <a:gd name="T22" fmla="*/ 605 w 627"/>
                    <a:gd name="T23" fmla="*/ 475 h 548"/>
                    <a:gd name="T24" fmla="*/ 535 w 627"/>
                    <a:gd name="T25" fmla="*/ 73 h 548"/>
                    <a:gd name="T26" fmla="*/ 422 w 627"/>
                    <a:gd name="T27" fmla="*/ 0 h 548"/>
                    <a:gd name="T28" fmla="*/ 313 w 627"/>
                    <a:gd name="T29" fmla="*/ 57 h 548"/>
                    <a:gd name="T30" fmla="*/ 205 w 627"/>
                    <a:gd name="T31" fmla="*/ 0 h 548"/>
                    <a:gd name="T32" fmla="*/ 92 w 627"/>
                    <a:gd name="T33" fmla="*/ 73 h 548"/>
                    <a:gd name="T34" fmla="*/ 22 w 627"/>
                    <a:gd name="T35" fmla="*/ 475 h 548"/>
                    <a:gd name="T36" fmla="*/ 66 w 627"/>
                    <a:gd name="T37" fmla="*/ 513 h 548"/>
                    <a:gd name="T38" fmla="*/ 71 w 627"/>
                    <a:gd name="T39" fmla="*/ 513 h 548"/>
                    <a:gd name="T40" fmla="*/ 108 w 627"/>
                    <a:gd name="T41" fmla="*/ 484 h 548"/>
                    <a:gd name="T42" fmla="*/ 62 w 627"/>
                    <a:gd name="T43" fmla="*/ 348 h 548"/>
                    <a:gd name="T44" fmla="*/ 92 w 627"/>
                    <a:gd name="T45" fmla="*/ 212 h 5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27" h="548">
                      <a:moveTo>
                        <a:pt x="92" y="212"/>
                      </a:moveTo>
                      <a:cubicBezTo>
                        <a:pt x="105" y="212"/>
                        <a:pt x="105" y="212"/>
                        <a:pt x="105" y="212"/>
                      </a:cubicBezTo>
                      <a:cubicBezTo>
                        <a:pt x="86" y="255"/>
                        <a:pt x="74" y="302"/>
                        <a:pt x="74" y="348"/>
                      </a:cubicBezTo>
                      <a:cubicBezTo>
                        <a:pt x="74" y="495"/>
                        <a:pt x="188" y="548"/>
                        <a:pt x="313" y="548"/>
                      </a:cubicBezTo>
                      <a:cubicBezTo>
                        <a:pt x="439" y="548"/>
                        <a:pt x="553" y="495"/>
                        <a:pt x="553" y="348"/>
                      </a:cubicBezTo>
                      <a:cubicBezTo>
                        <a:pt x="553" y="302"/>
                        <a:pt x="541" y="255"/>
                        <a:pt x="522" y="212"/>
                      </a:cubicBezTo>
                      <a:cubicBezTo>
                        <a:pt x="535" y="212"/>
                        <a:pt x="535" y="212"/>
                        <a:pt x="535" y="212"/>
                      </a:cubicBezTo>
                      <a:cubicBezTo>
                        <a:pt x="554" y="256"/>
                        <a:pt x="565" y="303"/>
                        <a:pt x="565" y="348"/>
                      </a:cubicBezTo>
                      <a:cubicBezTo>
                        <a:pt x="565" y="404"/>
                        <a:pt x="550" y="449"/>
                        <a:pt x="519" y="484"/>
                      </a:cubicBezTo>
                      <a:cubicBezTo>
                        <a:pt x="525" y="499"/>
                        <a:pt x="538" y="511"/>
                        <a:pt x="556" y="513"/>
                      </a:cubicBezTo>
                      <a:cubicBezTo>
                        <a:pt x="557" y="513"/>
                        <a:pt x="559" y="513"/>
                        <a:pt x="561" y="513"/>
                      </a:cubicBezTo>
                      <a:cubicBezTo>
                        <a:pt x="583" y="513"/>
                        <a:pt x="602" y="497"/>
                        <a:pt x="605" y="475"/>
                      </a:cubicBezTo>
                      <a:cubicBezTo>
                        <a:pt x="627" y="291"/>
                        <a:pt x="604" y="156"/>
                        <a:pt x="535" y="73"/>
                      </a:cubicBezTo>
                      <a:cubicBezTo>
                        <a:pt x="494" y="22"/>
                        <a:pt x="447" y="6"/>
                        <a:pt x="422" y="0"/>
                      </a:cubicBezTo>
                      <a:cubicBezTo>
                        <a:pt x="398" y="35"/>
                        <a:pt x="359" y="57"/>
                        <a:pt x="313" y="57"/>
                      </a:cubicBezTo>
                      <a:cubicBezTo>
                        <a:pt x="268" y="57"/>
                        <a:pt x="229" y="35"/>
                        <a:pt x="205" y="0"/>
                      </a:cubicBezTo>
                      <a:cubicBezTo>
                        <a:pt x="180" y="6"/>
                        <a:pt x="133" y="22"/>
                        <a:pt x="92" y="73"/>
                      </a:cubicBezTo>
                      <a:cubicBezTo>
                        <a:pt x="23" y="156"/>
                        <a:pt x="0" y="291"/>
                        <a:pt x="22" y="475"/>
                      </a:cubicBezTo>
                      <a:cubicBezTo>
                        <a:pt x="25" y="497"/>
                        <a:pt x="44" y="513"/>
                        <a:pt x="66" y="513"/>
                      </a:cubicBezTo>
                      <a:cubicBezTo>
                        <a:pt x="68" y="513"/>
                        <a:pt x="69" y="513"/>
                        <a:pt x="71" y="513"/>
                      </a:cubicBezTo>
                      <a:cubicBezTo>
                        <a:pt x="89" y="511"/>
                        <a:pt x="102" y="499"/>
                        <a:pt x="108" y="484"/>
                      </a:cubicBezTo>
                      <a:cubicBezTo>
                        <a:pt x="77" y="449"/>
                        <a:pt x="62" y="404"/>
                        <a:pt x="62" y="348"/>
                      </a:cubicBezTo>
                      <a:cubicBezTo>
                        <a:pt x="62" y="303"/>
                        <a:pt x="73" y="256"/>
                        <a:pt x="92" y="212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29" name="Freeform 6">
                  <a:extLst>
                    <a:ext uri="{FF2B5EF4-FFF2-40B4-BE49-F238E27FC236}">
                      <a16:creationId xmlns:a16="http://schemas.microsoft.com/office/drawing/2014/main" id="{C33F33B1-11EE-4149-9620-944BF2F0641C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580" y="1839"/>
                  <a:ext cx="283" cy="601"/>
                </a:xfrm>
                <a:custGeom>
                  <a:avLst/>
                  <a:gdLst>
                    <a:gd name="T0" fmla="*/ 0 w 188"/>
                    <a:gd name="T1" fmla="*/ 0 h 399"/>
                    <a:gd name="T2" fmla="*/ 70 w 188"/>
                    <a:gd name="T3" fmla="*/ 351 h 399"/>
                    <a:gd name="T4" fmla="*/ 129 w 188"/>
                    <a:gd name="T5" fmla="*/ 399 h 399"/>
                    <a:gd name="T6" fmla="*/ 188 w 188"/>
                    <a:gd name="T7" fmla="*/ 351 h 399"/>
                    <a:gd name="T8" fmla="*/ 188 w 188"/>
                    <a:gd name="T9" fmla="*/ 67 h 399"/>
                    <a:gd name="T10" fmla="*/ 25 w 188"/>
                    <a:gd name="T11" fmla="*/ 21 h 399"/>
                    <a:gd name="T12" fmla="*/ 0 w 188"/>
                    <a:gd name="T13" fmla="*/ 0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0" y="0"/>
                      </a:moveTo>
                      <a:cubicBezTo>
                        <a:pt x="70" y="351"/>
                        <a:pt x="70" y="351"/>
                        <a:pt x="70" y="351"/>
                      </a:cubicBezTo>
                      <a:cubicBezTo>
                        <a:pt x="70" y="377"/>
                        <a:pt x="96" y="399"/>
                        <a:pt x="129" y="399"/>
                      </a:cubicBezTo>
                      <a:cubicBezTo>
                        <a:pt x="161" y="399"/>
                        <a:pt x="188" y="377"/>
                        <a:pt x="188" y="351"/>
                      </a:cubicBezTo>
                      <a:cubicBezTo>
                        <a:pt x="188" y="67"/>
                        <a:pt x="188" y="67"/>
                        <a:pt x="188" y="67"/>
                      </a:cubicBezTo>
                      <a:cubicBezTo>
                        <a:pt x="122" y="66"/>
                        <a:pt x="66" y="50"/>
                        <a:pt x="25" y="21"/>
                      </a:cubicBezTo>
                      <a:cubicBezTo>
                        <a:pt x="16" y="14"/>
                        <a:pt x="8" y="7"/>
                        <a:pt x="0" y="0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0" name="Freeform 7">
                  <a:extLst>
                    <a:ext uri="{FF2B5EF4-FFF2-40B4-BE49-F238E27FC236}">
                      <a16:creationId xmlns:a16="http://schemas.microsoft.com/office/drawing/2014/main" id="{C66A1406-4F78-410C-A80B-F693D2F779C0}"/>
                    </a:ext>
                  </a:extLst>
                </p:cNvPr>
                <p:cNvSpPr>
                  <a:spLocks/>
                </p:cNvSpPr>
                <p:nvPr userDrawn="1"/>
              </p:nvSpPr>
              <p:spPr bwMode="auto">
                <a:xfrm>
                  <a:off x="2895" y="1839"/>
                  <a:ext cx="284" cy="601"/>
                </a:xfrm>
                <a:custGeom>
                  <a:avLst/>
                  <a:gdLst>
                    <a:gd name="T0" fmla="*/ 163 w 188"/>
                    <a:gd name="T1" fmla="*/ 21 h 399"/>
                    <a:gd name="T2" fmla="*/ 0 w 188"/>
                    <a:gd name="T3" fmla="*/ 67 h 399"/>
                    <a:gd name="T4" fmla="*/ 0 w 188"/>
                    <a:gd name="T5" fmla="*/ 351 h 399"/>
                    <a:gd name="T6" fmla="*/ 59 w 188"/>
                    <a:gd name="T7" fmla="*/ 399 h 399"/>
                    <a:gd name="T8" fmla="*/ 118 w 188"/>
                    <a:gd name="T9" fmla="*/ 351 h 399"/>
                    <a:gd name="T10" fmla="*/ 188 w 188"/>
                    <a:gd name="T11" fmla="*/ 0 h 399"/>
                    <a:gd name="T12" fmla="*/ 163 w 188"/>
                    <a:gd name="T13" fmla="*/ 21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8" h="399">
                      <a:moveTo>
                        <a:pt x="163" y="21"/>
                      </a:moveTo>
                      <a:cubicBezTo>
                        <a:pt x="122" y="50"/>
                        <a:pt x="66" y="66"/>
                        <a:pt x="0" y="67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0" y="377"/>
                        <a:pt x="27" y="399"/>
                        <a:pt x="59" y="399"/>
                      </a:cubicBezTo>
                      <a:cubicBezTo>
                        <a:pt x="92" y="399"/>
                        <a:pt x="118" y="377"/>
                        <a:pt x="118" y="351"/>
                      </a:cubicBezTo>
                      <a:cubicBezTo>
                        <a:pt x="188" y="0"/>
                        <a:pt x="188" y="0"/>
                        <a:pt x="188" y="0"/>
                      </a:cubicBezTo>
                      <a:cubicBezTo>
                        <a:pt x="180" y="7"/>
                        <a:pt x="172" y="14"/>
                        <a:pt x="163" y="21"/>
                      </a:cubicBezTo>
                      <a:close/>
                    </a:path>
                  </a:pathLst>
                </a:cu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  <p:sp>
              <p:nvSpPr>
                <p:cNvPr id="231" name="Oval 8">
                  <a:extLst>
                    <a:ext uri="{FF2B5EF4-FFF2-40B4-BE49-F238E27FC236}">
                      <a16:creationId xmlns:a16="http://schemas.microsoft.com/office/drawing/2014/main" id="{9D63C7A2-3ED5-485B-BAFA-D9E88EED3D53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auto">
                <a:xfrm>
                  <a:off x="2697" y="802"/>
                  <a:ext cx="363" cy="362"/>
                </a:xfrm>
                <a:prstGeom prst="ellipse">
                  <a:avLst/>
                </a:prstGeom>
                <a:grpFill/>
                <a:ln w="6350">
                  <a:solidFill>
                    <a:srgbClr val="086CA3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1965"/>
                    </a:solidFill>
                    <a:effectLst/>
                    <a:uLnTx/>
                    <a:uFillTx/>
                    <a:latin typeface="Apis For Office" panose="020B0504010101010104" pitchFamily="34" charset="0"/>
                  </a:endParaRPr>
                </a:p>
              </p:txBody>
            </p:sp>
          </p:grpSp>
        </p:grpSp>
        <p:grpSp>
          <p:nvGrpSpPr>
            <p:cNvPr id="212" name="Group 211">
              <a:extLst>
                <a:ext uri="{FF2B5EF4-FFF2-40B4-BE49-F238E27FC236}">
                  <a16:creationId xmlns:a16="http://schemas.microsoft.com/office/drawing/2014/main" id="{27304C29-33A5-4E21-B703-9DB98C54A472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5240653" y="2569895"/>
              <a:ext cx="607697" cy="604800"/>
              <a:chOff x="6710363" y="3908426"/>
              <a:chExt cx="333376" cy="331787"/>
            </a:xfrm>
            <a:solidFill>
              <a:srgbClr val="FFFFFF"/>
            </a:solidFill>
          </p:grpSpPr>
          <p:sp>
            <p:nvSpPr>
              <p:cNvPr id="217" name="Freeform 1149">
                <a:extLst>
                  <a:ext uri="{FF2B5EF4-FFF2-40B4-BE49-F238E27FC236}">
                    <a16:creationId xmlns:a16="http://schemas.microsoft.com/office/drawing/2014/main" id="{5A34C4D5-B543-47A5-A9A3-2A1148C9ED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26238" y="3924301"/>
                <a:ext cx="85725" cy="84138"/>
              </a:xfrm>
              <a:custGeom>
                <a:avLst/>
                <a:gdLst>
                  <a:gd name="T0" fmla="*/ 53 w 55"/>
                  <a:gd name="T1" fmla="*/ 17 h 54"/>
                  <a:gd name="T2" fmla="*/ 38 w 55"/>
                  <a:gd name="T3" fmla="*/ 2 h 54"/>
                  <a:gd name="T4" fmla="*/ 38 w 55"/>
                  <a:gd name="T5" fmla="*/ 2 h 54"/>
                  <a:gd name="T6" fmla="*/ 31 w 55"/>
                  <a:gd name="T7" fmla="*/ 2 h 54"/>
                  <a:gd name="T8" fmla="*/ 2 w 55"/>
                  <a:gd name="T9" fmla="*/ 30 h 54"/>
                  <a:gd name="T10" fmla="*/ 2 w 55"/>
                  <a:gd name="T11" fmla="*/ 37 h 54"/>
                  <a:gd name="T12" fmla="*/ 18 w 55"/>
                  <a:gd name="T13" fmla="*/ 52 h 54"/>
                  <a:gd name="T14" fmla="*/ 18 w 55"/>
                  <a:gd name="T15" fmla="*/ 52 h 54"/>
                  <a:gd name="T16" fmla="*/ 24 w 55"/>
                  <a:gd name="T17" fmla="*/ 52 h 54"/>
                  <a:gd name="T18" fmla="*/ 53 w 55"/>
                  <a:gd name="T19" fmla="*/ 24 h 54"/>
                  <a:gd name="T20" fmla="*/ 53 w 55"/>
                  <a:gd name="T21" fmla="*/ 17 h 54"/>
                  <a:gd name="T22" fmla="*/ 27 w 55"/>
                  <a:gd name="T23" fmla="*/ 42 h 54"/>
                  <a:gd name="T24" fmla="*/ 21 w 55"/>
                  <a:gd name="T25" fmla="*/ 42 h 54"/>
                  <a:gd name="T26" fmla="*/ 13 w 55"/>
                  <a:gd name="T27" fmla="*/ 34 h 54"/>
                  <a:gd name="T28" fmla="*/ 13 w 55"/>
                  <a:gd name="T29" fmla="*/ 28 h 54"/>
                  <a:gd name="T30" fmla="*/ 19 w 55"/>
                  <a:gd name="T31" fmla="*/ 28 h 54"/>
                  <a:gd name="T32" fmla="*/ 27 w 55"/>
                  <a:gd name="T33" fmla="*/ 36 h 54"/>
                  <a:gd name="T34" fmla="*/ 27 w 55"/>
                  <a:gd name="T35" fmla="*/ 42 h 54"/>
                  <a:gd name="T36" fmla="*/ 43 w 55"/>
                  <a:gd name="T37" fmla="*/ 27 h 54"/>
                  <a:gd name="T38" fmla="*/ 37 w 55"/>
                  <a:gd name="T39" fmla="*/ 27 h 54"/>
                  <a:gd name="T40" fmla="*/ 29 w 55"/>
                  <a:gd name="T41" fmla="*/ 19 h 54"/>
                  <a:gd name="T42" fmla="*/ 29 w 55"/>
                  <a:gd name="T43" fmla="*/ 12 h 54"/>
                  <a:gd name="T44" fmla="*/ 35 w 55"/>
                  <a:gd name="T45" fmla="*/ 12 h 54"/>
                  <a:gd name="T46" fmla="*/ 43 w 55"/>
                  <a:gd name="T47" fmla="*/ 20 h 54"/>
                  <a:gd name="T48" fmla="*/ 43 w 55"/>
                  <a:gd name="T49" fmla="*/ 27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5" h="54">
                    <a:moveTo>
                      <a:pt x="53" y="17"/>
                    </a:moveTo>
                    <a:cubicBezTo>
                      <a:pt x="38" y="2"/>
                      <a:pt x="38" y="2"/>
                      <a:pt x="38" y="2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6" y="0"/>
                      <a:pt x="33" y="0"/>
                      <a:pt x="31" y="2"/>
                    </a:cubicBezTo>
                    <a:cubicBezTo>
                      <a:pt x="2" y="30"/>
                      <a:pt x="2" y="30"/>
                      <a:pt x="2" y="30"/>
                    </a:cubicBezTo>
                    <a:cubicBezTo>
                      <a:pt x="0" y="32"/>
                      <a:pt x="0" y="35"/>
                      <a:pt x="2" y="37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9" y="54"/>
                      <a:pt x="22" y="54"/>
                      <a:pt x="24" y="52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5" y="22"/>
                      <a:pt x="55" y="19"/>
                      <a:pt x="53" y="17"/>
                    </a:cubicBezTo>
                    <a:moveTo>
                      <a:pt x="27" y="42"/>
                    </a:moveTo>
                    <a:cubicBezTo>
                      <a:pt x="25" y="44"/>
                      <a:pt x="23" y="44"/>
                      <a:pt x="21" y="42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11" y="32"/>
                      <a:pt x="11" y="30"/>
                      <a:pt x="13" y="28"/>
                    </a:cubicBezTo>
                    <a:cubicBezTo>
                      <a:pt x="15" y="26"/>
                      <a:pt x="18" y="26"/>
                      <a:pt x="19" y="28"/>
                    </a:cubicBezTo>
                    <a:cubicBezTo>
                      <a:pt x="27" y="36"/>
                      <a:pt x="27" y="36"/>
                      <a:pt x="27" y="36"/>
                    </a:cubicBezTo>
                    <a:cubicBezTo>
                      <a:pt x="29" y="38"/>
                      <a:pt x="29" y="40"/>
                      <a:pt x="27" y="42"/>
                    </a:cubicBezTo>
                    <a:moveTo>
                      <a:pt x="43" y="27"/>
                    </a:moveTo>
                    <a:cubicBezTo>
                      <a:pt x="41" y="28"/>
                      <a:pt x="38" y="28"/>
                      <a:pt x="37" y="27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7" y="17"/>
                      <a:pt x="27" y="14"/>
                      <a:pt x="29" y="12"/>
                    </a:cubicBezTo>
                    <a:cubicBezTo>
                      <a:pt x="30" y="11"/>
                      <a:pt x="33" y="11"/>
                      <a:pt x="35" y="12"/>
                    </a:cubicBezTo>
                    <a:cubicBezTo>
                      <a:pt x="43" y="20"/>
                      <a:pt x="43" y="20"/>
                      <a:pt x="43" y="20"/>
                    </a:cubicBezTo>
                    <a:cubicBezTo>
                      <a:pt x="45" y="22"/>
                      <a:pt x="45" y="25"/>
                      <a:pt x="43" y="2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218" name="Freeform 1150">
                <a:extLst>
                  <a:ext uri="{FF2B5EF4-FFF2-40B4-BE49-F238E27FC236}">
                    <a16:creationId xmlns:a16="http://schemas.microsoft.com/office/drawing/2014/main" id="{E84DCE17-2F14-47DE-AEAE-675D8CD66A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0363" y="3908426"/>
                <a:ext cx="49213" cy="49213"/>
              </a:xfrm>
              <a:custGeom>
                <a:avLst/>
                <a:gdLst>
                  <a:gd name="T0" fmla="*/ 2 w 31"/>
                  <a:gd name="T1" fmla="*/ 21 h 31"/>
                  <a:gd name="T2" fmla="*/ 2 w 31"/>
                  <a:gd name="T3" fmla="*/ 21 h 31"/>
                  <a:gd name="T4" fmla="*/ 22 w 31"/>
                  <a:gd name="T5" fmla="*/ 2 h 31"/>
                  <a:gd name="T6" fmla="*/ 29 w 31"/>
                  <a:gd name="T7" fmla="*/ 2 h 31"/>
                  <a:gd name="T8" fmla="*/ 29 w 31"/>
                  <a:gd name="T9" fmla="*/ 9 h 31"/>
                  <a:gd name="T10" fmla="*/ 10 w 31"/>
                  <a:gd name="T11" fmla="*/ 29 h 31"/>
                  <a:gd name="T12" fmla="*/ 2 w 31"/>
                  <a:gd name="T13" fmla="*/ 29 h 31"/>
                  <a:gd name="T14" fmla="*/ 2 w 31"/>
                  <a:gd name="T15" fmla="*/ 2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31">
                    <a:moveTo>
                      <a:pt x="2" y="21"/>
                    </a:moveTo>
                    <a:cubicBezTo>
                      <a:pt x="2" y="21"/>
                      <a:pt x="2" y="21"/>
                      <a:pt x="2" y="21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4" y="0"/>
                      <a:pt x="27" y="0"/>
                      <a:pt x="29" y="2"/>
                    </a:cubicBezTo>
                    <a:cubicBezTo>
                      <a:pt x="31" y="4"/>
                      <a:pt x="31" y="7"/>
                      <a:pt x="29" y="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8" y="31"/>
                      <a:pt x="4" y="30"/>
                      <a:pt x="2" y="29"/>
                    </a:cubicBezTo>
                    <a:cubicBezTo>
                      <a:pt x="1" y="27"/>
                      <a:pt x="0" y="23"/>
                      <a:pt x="2" y="2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219" name="Freeform 1151">
                <a:extLst>
                  <a:ext uri="{FF2B5EF4-FFF2-40B4-BE49-F238E27FC236}">
                    <a16:creationId xmlns:a16="http://schemas.microsoft.com/office/drawing/2014/main" id="{A5F1AB7F-4F78-4F88-B673-7FD114AA3B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72276" y="3970338"/>
                <a:ext cx="271463" cy="269875"/>
              </a:xfrm>
              <a:custGeom>
                <a:avLst/>
                <a:gdLst>
                  <a:gd name="T0" fmla="*/ 172 w 175"/>
                  <a:gd name="T1" fmla="*/ 164 h 174"/>
                  <a:gd name="T2" fmla="*/ 156 w 175"/>
                  <a:gd name="T3" fmla="*/ 147 h 174"/>
                  <a:gd name="T4" fmla="*/ 151 w 175"/>
                  <a:gd name="T5" fmla="*/ 115 h 174"/>
                  <a:gd name="T6" fmla="*/ 38 w 175"/>
                  <a:gd name="T7" fmla="*/ 2 h 174"/>
                  <a:gd name="T8" fmla="*/ 31 w 175"/>
                  <a:gd name="T9" fmla="*/ 2 h 174"/>
                  <a:gd name="T10" fmla="*/ 3 w 175"/>
                  <a:gd name="T11" fmla="*/ 31 h 174"/>
                  <a:gd name="T12" fmla="*/ 3 w 175"/>
                  <a:gd name="T13" fmla="*/ 37 h 174"/>
                  <a:gd name="T14" fmla="*/ 116 w 175"/>
                  <a:gd name="T15" fmla="*/ 151 h 174"/>
                  <a:gd name="T16" fmla="*/ 147 w 175"/>
                  <a:gd name="T17" fmla="*/ 155 h 174"/>
                  <a:gd name="T18" fmla="*/ 164 w 175"/>
                  <a:gd name="T19" fmla="*/ 172 h 174"/>
                  <a:gd name="T20" fmla="*/ 172 w 175"/>
                  <a:gd name="T21" fmla="*/ 172 h 174"/>
                  <a:gd name="T22" fmla="*/ 172 w 175"/>
                  <a:gd name="T23" fmla="*/ 164 h 174"/>
                  <a:gd name="T24" fmla="*/ 55 w 175"/>
                  <a:gd name="T25" fmla="*/ 34 h 174"/>
                  <a:gd name="T26" fmla="*/ 43 w 175"/>
                  <a:gd name="T27" fmla="*/ 58 h 174"/>
                  <a:gd name="T28" fmla="*/ 36 w 175"/>
                  <a:gd name="T29" fmla="*/ 59 h 174"/>
                  <a:gd name="T30" fmla="*/ 21 w 175"/>
                  <a:gd name="T31" fmla="*/ 45 h 174"/>
                  <a:gd name="T32" fmla="*/ 20 w 175"/>
                  <a:gd name="T33" fmla="*/ 40 h 174"/>
                  <a:gd name="T34" fmla="*/ 32 w 175"/>
                  <a:gd name="T35" fmla="*/ 16 h 174"/>
                  <a:gd name="T36" fmla="*/ 39 w 175"/>
                  <a:gd name="T37" fmla="*/ 14 h 174"/>
                  <a:gd name="T38" fmla="*/ 54 w 175"/>
                  <a:gd name="T39" fmla="*/ 29 h 174"/>
                  <a:gd name="T40" fmla="*/ 55 w 175"/>
                  <a:gd name="T41" fmla="*/ 3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75" h="174">
                    <a:moveTo>
                      <a:pt x="172" y="164"/>
                    </a:moveTo>
                    <a:cubicBezTo>
                      <a:pt x="156" y="147"/>
                      <a:pt x="156" y="147"/>
                      <a:pt x="156" y="147"/>
                    </a:cubicBezTo>
                    <a:cubicBezTo>
                      <a:pt x="151" y="115"/>
                      <a:pt x="151" y="115"/>
                      <a:pt x="151" y="115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6" y="0"/>
                      <a:pt x="33" y="0"/>
                      <a:pt x="31" y="2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0" y="33"/>
                      <a:pt x="1" y="36"/>
                      <a:pt x="3" y="37"/>
                    </a:cubicBezTo>
                    <a:cubicBezTo>
                      <a:pt x="116" y="151"/>
                      <a:pt x="116" y="151"/>
                      <a:pt x="116" y="151"/>
                    </a:cubicBezTo>
                    <a:cubicBezTo>
                      <a:pt x="147" y="155"/>
                      <a:pt x="147" y="155"/>
                      <a:pt x="147" y="155"/>
                    </a:cubicBezTo>
                    <a:cubicBezTo>
                      <a:pt x="164" y="172"/>
                      <a:pt x="164" y="172"/>
                      <a:pt x="164" y="172"/>
                    </a:cubicBezTo>
                    <a:cubicBezTo>
                      <a:pt x="166" y="174"/>
                      <a:pt x="170" y="174"/>
                      <a:pt x="172" y="172"/>
                    </a:cubicBezTo>
                    <a:cubicBezTo>
                      <a:pt x="175" y="170"/>
                      <a:pt x="175" y="166"/>
                      <a:pt x="172" y="164"/>
                    </a:cubicBezTo>
                    <a:moveTo>
                      <a:pt x="55" y="34"/>
                    </a:moveTo>
                    <a:cubicBezTo>
                      <a:pt x="43" y="58"/>
                      <a:pt x="43" y="58"/>
                      <a:pt x="43" y="58"/>
                    </a:cubicBezTo>
                    <a:cubicBezTo>
                      <a:pt x="41" y="61"/>
                      <a:pt x="38" y="61"/>
                      <a:pt x="36" y="59"/>
                    </a:cubicBezTo>
                    <a:cubicBezTo>
                      <a:pt x="21" y="45"/>
                      <a:pt x="21" y="45"/>
                      <a:pt x="21" y="45"/>
                    </a:cubicBezTo>
                    <a:cubicBezTo>
                      <a:pt x="20" y="43"/>
                      <a:pt x="19" y="41"/>
                      <a:pt x="20" y="40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3" y="13"/>
                      <a:pt x="37" y="12"/>
                      <a:pt x="39" y="14"/>
                    </a:cubicBezTo>
                    <a:cubicBezTo>
                      <a:pt x="54" y="29"/>
                      <a:pt x="54" y="29"/>
                      <a:pt x="54" y="29"/>
                    </a:cubicBezTo>
                    <a:cubicBezTo>
                      <a:pt x="55" y="30"/>
                      <a:pt x="56" y="32"/>
                      <a:pt x="55" y="3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  <p:grpSp>
          <p:nvGrpSpPr>
            <p:cNvPr id="213" name="Group 212">
              <a:extLst>
                <a:ext uri="{FF2B5EF4-FFF2-40B4-BE49-F238E27FC236}">
                  <a16:creationId xmlns:a16="http://schemas.microsoft.com/office/drawing/2014/main" id="{696AB016-B86B-4518-A085-C4AE53410ABA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2673172" y="423745"/>
              <a:ext cx="607697" cy="604800"/>
              <a:chOff x="6710363" y="3908426"/>
              <a:chExt cx="333376" cy="331787"/>
            </a:xfrm>
            <a:solidFill>
              <a:srgbClr val="FFFFFF">
                <a:alpha val="26000"/>
              </a:srgbClr>
            </a:solidFill>
          </p:grpSpPr>
          <p:sp>
            <p:nvSpPr>
              <p:cNvPr id="214" name="Freeform 1149">
                <a:extLst>
                  <a:ext uri="{FF2B5EF4-FFF2-40B4-BE49-F238E27FC236}">
                    <a16:creationId xmlns:a16="http://schemas.microsoft.com/office/drawing/2014/main" id="{F1C167AC-F103-4B80-BE67-AC826BFC60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26238" y="3924301"/>
                <a:ext cx="85725" cy="84138"/>
              </a:xfrm>
              <a:custGeom>
                <a:avLst/>
                <a:gdLst>
                  <a:gd name="T0" fmla="*/ 53 w 55"/>
                  <a:gd name="T1" fmla="*/ 17 h 54"/>
                  <a:gd name="T2" fmla="*/ 38 w 55"/>
                  <a:gd name="T3" fmla="*/ 2 h 54"/>
                  <a:gd name="T4" fmla="*/ 38 w 55"/>
                  <a:gd name="T5" fmla="*/ 2 h 54"/>
                  <a:gd name="T6" fmla="*/ 31 w 55"/>
                  <a:gd name="T7" fmla="*/ 2 h 54"/>
                  <a:gd name="T8" fmla="*/ 2 w 55"/>
                  <a:gd name="T9" fmla="*/ 30 h 54"/>
                  <a:gd name="T10" fmla="*/ 2 w 55"/>
                  <a:gd name="T11" fmla="*/ 37 h 54"/>
                  <a:gd name="T12" fmla="*/ 18 w 55"/>
                  <a:gd name="T13" fmla="*/ 52 h 54"/>
                  <a:gd name="T14" fmla="*/ 18 w 55"/>
                  <a:gd name="T15" fmla="*/ 52 h 54"/>
                  <a:gd name="T16" fmla="*/ 24 w 55"/>
                  <a:gd name="T17" fmla="*/ 52 h 54"/>
                  <a:gd name="T18" fmla="*/ 53 w 55"/>
                  <a:gd name="T19" fmla="*/ 24 h 54"/>
                  <a:gd name="T20" fmla="*/ 53 w 55"/>
                  <a:gd name="T21" fmla="*/ 17 h 54"/>
                  <a:gd name="T22" fmla="*/ 27 w 55"/>
                  <a:gd name="T23" fmla="*/ 42 h 54"/>
                  <a:gd name="T24" fmla="*/ 21 w 55"/>
                  <a:gd name="T25" fmla="*/ 42 h 54"/>
                  <a:gd name="T26" fmla="*/ 13 w 55"/>
                  <a:gd name="T27" fmla="*/ 34 h 54"/>
                  <a:gd name="T28" fmla="*/ 13 w 55"/>
                  <a:gd name="T29" fmla="*/ 28 h 54"/>
                  <a:gd name="T30" fmla="*/ 19 w 55"/>
                  <a:gd name="T31" fmla="*/ 28 h 54"/>
                  <a:gd name="T32" fmla="*/ 27 w 55"/>
                  <a:gd name="T33" fmla="*/ 36 h 54"/>
                  <a:gd name="T34" fmla="*/ 27 w 55"/>
                  <a:gd name="T35" fmla="*/ 42 h 54"/>
                  <a:gd name="T36" fmla="*/ 43 w 55"/>
                  <a:gd name="T37" fmla="*/ 27 h 54"/>
                  <a:gd name="T38" fmla="*/ 37 w 55"/>
                  <a:gd name="T39" fmla="*/ 27 h 54"/>
                  <a:gd name="T40" fmla="*/ 29 w 55"/>
                  <a:gd name="T41" fmla="*/ 19 h 54"/>
                  <a:gd name="T42" fmla="*/ 29 w 55"/>
                  <a:gd name="T43" fmla="*/ 12 h 54"/>
                  <a:gd name="T44" fmla="*/ 35 w 55"/>
                  <a:gd name="T45" fmla="*/ 12 h 54"/>
                  <a:gd name="T46" fmla="*/ 43 w 55"/>
                  <a:gd name="T47" fmla="*/ 20 h 54"/>
                  <a:gd name="T48" fmla="*/ 43 w 55"/>
                  <a:gd name="T49" fmla="*/ 27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5" h="54">
                    <a:moveTo>
                      <a:pt x="53" y="17"/>
                    </a:moveTo>
                    <a:cubicBezTo>
                      <a:pt x="38" y="2"/>
                      <a:pt x="38" y="2"/>
                      <a:pt x="38" y="2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6" y="0"/>
                      <a:pt x="33" y="0"/>
                      <a:pt x="31" y="2"/>
                    </a:cubicBezTo>
                    <a:cubicBezTo>
                      <a:pt x="2" y="30"/>
                      <a:pt x="2" y="30"/>
                      <a:pt x="2" y="30"/>
                    </a:cubicBezTo>
                    <a:cubicBezTo>
                      <a:pt x="0" y="32"/>
                      <a:pt x="0" y="35"/>
                      <a:pt x="2" y="37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9" y="54"/>
                      <a:pt x="22" y="54"/>
                      <a:pt x="24" y="52"/>
                    </a:cubicBezTo>
                    <a:cubicBezTo>
                      <a:pt x="53" y="24"/>
                      <a:pt x="53" y="24"/>
                      <a:pt x="53" y="24"/>
                    </a:cubicBezTo>
                    <a:cubicBezTo>
                      <a:pt x="55" y="22"/>
                      <a:pt x="55" y="19"/>
                      <a:pt x="53" y="17"/>
                    </a:cubicBezTo>
                    <a:moveTo>
                      <a:pt x="27" y="42"/>
                    </a:moveTo>
                    <a:cubicBezTo>
                      <a:pt x="25" y="44"/>
                      <a:pt x="23" y="44"/>
                      <a:pt x="21" y="42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11" y="32"/>
                      <a:pt x="11" y="30"/>
                      <a:pt x="13" y="28"/>
                    </a:cubicBezTo>
                    <a:cubicBezTo>
                      <a:pt x="15" y="26"/>
                      <a:pt x="18" y="26"/>
                      <a:pt x="19" y="28"/>
                    </a:cubicBezTo>
                    <a:cubicBezTo>
                      <a:pt x="27" y="36"/>
                      <a:pt x="27" y="36"/>
                      <a:pt x="27" y="36"/>
                    </a:cubicBezTo>
                    <a:cubicBezTo>
                      <a:pt x="29" y="38"/>
                      <a:pt x="29" y="40"/>
                      <a:pt x="27" y="42"/>
                    </a:cubicBezTo>
                    <a:moveTo>
                      <a:pt x="43" y="27"/>
                    </a:moveTo>
                    <a:cubicBezTo>
                      <a:pt x="41" y="28"/>
                      <a:pt x="38" y="28"/>
                      <a:pt x="37" y="27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7" y="17"/>
                      <a:pt x="27" y="14"/>
                      <a:pt x="29" y="12"/>
                    </a:cubicBezTo>
                    <a:cubicBezTo>
                      <a:pt x="30" y="11"/>
                      <a:pt x="33" y="11"/>
                      <a:pt x="35" y="12"/>
                    </a:cubicBezTo>
                    <a:cubicBezTo>
                      <a:pt x="43" y="20"/>
                      <a:pt x="43" y="20"/>
                      <a:pt x="43" y="20"/>
                    </a:cubicBezTo>
                    <a:cubicBezTo>
                      <a:pt x="45" y="22"/>
                      <a:pt x="45" y="25"/>
                      <a:pt x="43" y="2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215" name="Freeform 1150">
                <a:extLst>
                  <a:ext uri="{FF2B5EF4-FFF2-40B4-BE49-F238E27FC236}">
                    <a16:creationId xmlns:a16="http://schemas.microsoft.com/office/drawing/2014/main" id="{5219C2D1-B85E-415A-AFD8-1E0FFE0BC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0363" y="3908426"/>
                <a:ext cx="49213" cy="49213"/>
              </a:xfrm>
              <a:custGeom>
                <a:avLst/>
                <a:gdLst>
                  <a:gd name="T0" fmla="*/ 2 w 31"/>
                  <a:gd name="T1" fmla="*/ 21 h 31"/>
                  <a:gd name="T2" fmla="*/ 2 w 31"/>
                  <a:gd name="T3" fmla="*/ 21 h 31"/>
                  <a:gd name="T4" fmla="*/ 22 w 31"/>
                  <a:gd name="T5" fmla="*/ 2 h 31"/>
                  <a:gd name="T6" fmla="*/ 29 w 31"/>
                  <a:gd name="T7" fmla="*/ 2 h 31"/>
                  <a:gd name="T8" fmla="*/ 29 w 31"/>
                  <a:gd name="T9" fmla="*/ 9 h 31"/>
                  <a:gd name="T10" fmla="*/ 10 w 31"/>
                  <a:gd name="T11" fmla="*/ 29 h 31"/>
                  <a:gd name="T12" fmla="*/ 2 w 31"/>
                  <a:gd name="T13" fmla="*/ 29 h 31"/>
                  <a:gd name="T14" fmla="*/ 2 w 31"/>
                  <a:gd name="T15" fmla="*/ 2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31">
                    <a:moveTo>
                      <a:pt x="2" y="21"/>
                    </a:moveTo>
                    <a:cubicBezTo>
                      <a:pt x="2" y="21"/>
                      <a:pt x="2" y="21"/>
                      <a:pt x="2" y="21"/>
                    </a:cubicBezTo>
                    <a:cubicBezTo>
                      <a:pt x="22" y="2"/>
                      <a:pt x="22" y="2"/>
                      <a:pt x="22" y="2"/>
                    </a:cubicBezTo>
                    <a:cubicBezTo>
                      <a:pt x="24" y="0"/>
                      <a:pt x="27" y="0"/>
                      <a:pt x="29" y="2"/>
                    </a:cubicBezTo>
                    <a:cubicBezTo>
                      <a:pt x="31" y="4"/>
                      <a:pt x="31" y="7"/>
                      <a:pt x="29" y="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8" y="31"/>
                      <a:pt x="4" y="30"/>
                      <a:pt x="2" y="29"/>
                    </a:cubicBezTo>
                    <a:cubicBezTo>
                      <a:pt x="1" y="27"/>
                      <a:pt x="0" y="23"/>
                      <a:pt x="2" y="2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  <p:sp>
            <p:nvSpPr>
              <p:cNvPr id="216" name="Freeform 1151">
                <a:extLst>
                  <a:ext uri="{FF2B5EF4-FFF2-40B4-BE49-F238E27FC236}">
                    <a16:creationId xmlns:a16="http://schemas.microsoft.com/office/drawing/2014/main" id="{ABD3B0C0-FFD3-47CC-93A2-CC7E26F0A2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72276" y="3970338"/>
                <a:ext cx="271463" cy="269875"/>
              </a:xfrm>
              <a:custGeom>
                <a:avLst/>
                <a:gdLst>
                  <a:gd name="T0" fmla="*/ 172 w 175"/>
                  <a:gd name="T1" fmla="*/ 164 h 174"/>
                  <a:gd name="T2" fmla="*/ 156 w 175"/>
                  <a:gd name="T3" fmla="*/ 147 h 174"/>
                  <a:gd name="T4" fmla="*/ 151 w 175"/>
                  <a:gd name="T5" fmla="*/ 115 h 174"/>
                  <a:gd name="T6" fmla="*/ 38 w 175"/>
                  <a:gd name="T7" fmla="*/ 2 h 174"/>
                  <a:gd name="T8" fmla="*/ 31 w 175"/>
                  <a:gd name="T9" fmla="*/ 2 h 174"/>
                  <a:gd name="T10" fmla="*/ 3 w 175"/>
                  <a:gd name="T11" fmla="*/ 31 h 174"/>
                  <a:gd name="T12" fmla="*/ 3 w 175"/>
                  <a:gd name="T13" fmla="*/ 37 h 174"/>
                  <a:gd name="T14" fmla="*/ 116 w 175"/>
                  <a:gd name="T15" fmla="*/ 151 h 174"/>
                  <a:gd name="T16" fmla="*/ 147 w 175"/>
                  <a:gd name="T17" fmla="*/ 155 h 174"/>
                  <a:gd name="T18" fmla="*/ 164 w 175"/>
                  <a:gd name="T19" fmla="*/ 172 h 174"/>
                  <a:gd name="T20" fmla="*/ 172 w 175"/>
                  <a:gd name="T21" fmla="*/ 172 h 174"/>
                  <a:gd name="T22" fmla="*/ 172 w 175"/>
                  <a:gd name="T23" fmla="*/ 164 h 174"/>
                  <a:gd name="T24" fmla="*/ 55 w 175"/>
                  <a:gd name="T25" fmla="*/ 34 h 174"/>
                  <a:gd name="T26" fmla="*/ 43 w 175"/>
                  <a:gd name="T27" fmla="*/ 58 h 174"/>
                  <a:gd name="T28" fmla="*/ 36 w 175"/>
                  <a:gd name="T29" fmla="*/ 59 h 174"/>
                  <a:gd name="T30" fmla="*/ 21 w 175"/>
                  <a:gd name="T31" fmla="*/ 45 h 174"/>
                  <a:gd name="T32" fmla="*/ 20 w 175"/>
                  <a:gd name="T33" fmla="*/ 40 h 174"/>
                  <a:gd name="T34" fmla="*/ 32 w 175"/>
                  <a:gd name="T35" fmla="*/ 16 h 174"/>
                  <a:gd name="T36" fmla="*/ 39 w 175"/>
                  <a:gd name="T37" fmla="*/ 14 h 174"/>
                  <a:gd name="T38" fmla="*/ 54 w 175"/>
                  <a:gd name="T39" fmla="*/ 29 h 174"/>
                  <a:gd name="T40" fmla="*/ 55 w 175"/>
                  <a:gd name="T41" fmla="*/ 3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75" h="174">
                    <a:moveTo>
                      <a:pt x="172" y="164"/>
                    </a:moveTo>
                    <a:cubicBezTo>
                      <a:pt x="156" y="147"/>
                      <a:pt x="156" y="147"/>
                      <a:pt x="156" y="147"/>
                    </a:cubicBezTo>
                    <a:cubicBezTo>
                      <a:pt x="151" y="115"/>
                      <a:pt x="151" y="115"/>
                      <a:pt x="151" y="115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6" y="0"/>
                      <a:pt x="33" y="0"/>
                      <a:pt x="31" y="2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0" y="33"/>
                      <a:pt x="1" y="36"/>
                      <a:pt x="3" y="37"/>
                    </a:cubicBezTo>
                    <a:cubicBezTo>
                      <a:pt x="116" y="151"/>
                      <a:pt x="116" y="151"/>
                      <a:pt x="116" y="151"/>
                    </a:cubicBezTo>
                    <a:cubicBezTo>
                      <a:pt x="147" y="155"/>
                      <a:pt x="147" y="155"/>
                      <a:pt x="147" y="155"/>
                    </a:cubicBezTo>
                    <a:cubicBezTo>
                      <a:pt x="164" y="172"/>
                      <a:pt x="164" y="172"/>
                      <a:pt x="164" y="172"/>
                    </a:cubicBezTo>
                    <a:cubicBezTo>
                      <a:pt x="166" y="174"/>
                      <a:pt x="170" y="174"/>
                      <a:pt x="172" y="172"/>
                    </a:cubicBezTo>
                    <a:cubicBezTo>
                      <a:pt x="175" y="170"/>
                      <a:pt x="175" y="166"/>
                      <a:pt x="172" y="164"/>
                    </a:cubicBezTo>
                    <a:moveTo>
                      <a:pt x="55" y="34"/>
                    </a:moveTo>
                    <a:cubicBezTo>
                      <a:pt x="43" y="58"/>
                      <a:pt x="43" y="58"/>
                      <a:pt x="43" y="58"/>
                    </a:cubicBezTo>
                    <a:cubicBezTo>
                      <a:pt x="41" y="61"/>
                      <a:pt x="38" y="61"/>
                      <a:pt x="36" y="59"/>
                    </a:cubicBezTo>
                    <a:cubicBezTo>
                      <a:pt x="21" y="45"/>
                      <a:pt x="21" y="45"/>
                      <a:pt x="21" y="45"/>
                    </a:cubicBezTo>
                    <a:cubicBezTo>
                      <a:pt x="20" y="43"/>
                      <a:pt x="19" y="41"/>
                      <a:pt x="20" y="40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3" y="13"/>
                      <a:pt x="37" y="12"/>
                      <a:pt x="39" y="14"/>
                    </a:cubicBezTo>
                    <a:cubicBezTo>
                      <a:pt x="54" y="29"/>
                      <a:pt x="54" y="29"/>
                      <a:pt x="54" y="29"/>
                    </a:cubicBezTo>
                    <a:cubicBezTo>
                      <a:pt x="55" y="30"/>
                      <a:pt x="56" y="32"/>
                      <a:pt x="55" y="3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pis For Office" panose="020B0504010101010104" pitchFamily="34" charset="0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1244024"/>
            <a:ext cx="8652001" cy="1871629"/>
          </a:xfrm>
        </p:spPr>
        <p:txBody>
          <a:bodyPr tIns="91440" bIns="91440" anchor="b" anchorCtr="0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4000" y="324000"/>
            <a:ext cx="4488000" cy="324000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7CC7667B-71FE-473D-AE19-E08F2682BD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3" name="Tagline" descr="{&quot;templafy&quot;:{&quot;id&quot;:&quot;237cc8ce-a8bb-493a-8167-0dbb0fdc5d51&quot;}}" title="Form.PLogoChoice.PLogoInsertion">
            <a:extLst>
              <a:ext uri="{FF2B5EF4-FFF2-40B4-BE49-F238E27FC236}">
                <a16:creationId xmlns:a16="http://schemas.microsoft.com/office/drawing/2014/main" id="{8AE78219-5CBB-4760-B800-636AFE0A99A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err="1">
              <a:latin typeface="Apis For Office" panose="020B05040101010101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F71D66-8A8E-4C10-A476-314785641A0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1" y="3222444"/>
            <a:ext cx="8652001" cy="940659"/>
          </a:xfrm>
        </p:spPr>
        <p:txBody>
          <a:bodyPr/>
          <a:lstStyle>
            <a:lvl1pPr marL="0" indent="0">
              <a:buNone/>
              <a:defRPr>
                <a:solidFill>
                  <a:schemeClr val="accent5">
                    <a:lumMod val="40000"/>
                    <a:lumOff val="60000"/>
                  </a:schemeClr>
                </a:solidFill>
              </a:defRPr>
            </a:lvl1pPr>
            <a:lvl2pPr marL="269993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Date Placeholder 6">
            <a:extLst>
              <a:ext uri="{FF2B5EF4-FFF2-40B4-BE49-F238E27FC236}">
                <a16:creationId xmlns:a16="http://schemas.microsoft.com/office/drawing/2014/main" id="{AA4298F5-860C-4CD1-BA18-36787A8004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2000" y="324000"/>
            <a:ext cx="1920000" cy="12585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406E89B-F1B0-48A4-8827-107446FBFBCE}" type="datetime3">
              <a:rPr lang="en-US" smtClean="0"/>
              <a:pPr/>
              <a:t>29 January 2025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EA2B237-553D-4D16-B830-94B4CC58C9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7700" y="4255540"/>
            <a:ext cx="8652933" cy="690033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3">
                    <a:lumMod val="40000"/>
                    <a:lumOff val="60000"/>
                  </a:schemeClr>
                </a:solidFill>
              </a:defRPr>
            </a:lvl1pPr>
            <a:lvl2pPr marL="269993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002260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B387FAC7-4495-4B53-B895-86075CD260E1}"/>
              </a:ext>
            </a:extLst>
          </p:cNvPr>
          <p:cNvGrpSpPr/>
          <p:nvPr userDrawn="1"/>
        </p:nvGrpSpPr>
        <p:grpSpPr>
          <a:xfrm>
            <a:off x="-15583" y="848925"/>
            <a:ext cx="12238748" cy="5088665"/>
            <a:chOff x="-11688" y="592243"/>
            <a:chExt cx="9179061" cy="3816499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BC303820-98FC-489A-AC81-8E95961FDFED}"/>
                </a:ext>
              </a:extLst>
            </p:cNvPr>
            <p:cNvSpPr/>
            <p:nvPr/>
          </p:nvSpPr>
          <p:spPr>
            <a:xfrm>
              <a:off x="0" y="623670"/>
              <a:ext cx="9144000" cy="3677661"/>
            </a:xfrm>
            <a:prstGeom prst="rect">
              <a:avLst/>
            </a:prstGeom>
            <a:solidFill>
              <a:srgbClr val="7FCEED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639D65B5-0DDF-445A-9308-D20097A47173}"/>
                </a:ext>
              </a:extLst>
            </p:cNvPr>
            <p:cNvGrpSpPr/>
            <p:nvPr/>
          </p:nvGrpSpPr>
          <p:grpSpPr>
            <a:xfrm>
              <a:off x="-4651" y="3426626"/>
              <a:ext cx="8833686" cy="283968"/>
              <a:chOff x="-4" y="806463"/>
              <a:chExt cx="7093002" cy="283968"/>
            </a:xfrm>
          </p:grpSpPr>
          <p:sp>
            <p:nvSpPr>
              <p:cNvPr id="96" name="Rectangle: Top Corners Rounded 95">
                <a:extLst>
                  <a:ext uri="{FF2B5EF4-FFF2-40B4-BE49-F238E27FC236}">
                    <a16:creationId xmlns:a16="http://schemas.microsoft.com/office/drawing/2014/main" id="{C53C6BA5-B65E-4B36-8DA0-19D643BE7BF9}"/>
                  </a:ext>
                </a:extLst>
              </p:cNvPr>
              <p:cNvSpPr/>
              <p:nvPr/>
            </p:nvSpPr>
            <p:spPr>
              <a:xfrm rot="5400000">
                <a:off x="3327380" y="-2439425"/>
                <a:ext cx="115267" cy="677002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>
                  <a:alpha val="32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Rectangle: Top Corners Rounded 96">
                <a:extLst>
                  <a:ext uri="{FF2B5EF4-FFF2-40B4-BE49-F238E27FC236}">
                    <a16:creationId xmlns:a16="http://schemas.microsoft.com/office/drawing/2014/main" id="{B01C1FAB-794A-40D0-9687-F12D0CFC63C1}"/>
                  </a:ext>
                </a:extLst>
              </p:cNvPr>
              <p:cNvSpPr/>
              <p:nvPr/>
            </p:nvSpPr>
            <p:spPr>
              <a:xfrm rot="5400000">
                <a:off x="3523637" y="-2478929"/>
                <a:ext cx="45719" cy="709300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FFFFFF">
                  <a:alpha val="22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Rectangle: Top Corners Rounded 97">
                <a:extLst>
                  <a:ext uri="{FF2B5EF4-FFF2-40B4-BE49-F238E27FC236}">
                    <a16:creationId xmlns:a16="http://schemas.microsoft.com/office/drawing/2014/main" id="{014B773D-A2BC-4C5A-B136-805A40F1A7C3}"/>
                  </a:ext>
                </a:extLst>
              </p:cNvPr>
              <p:cNvSpPr/>
              <p:nvPr/>
            </p:nvSpPr>
            <p:spPr>
              <a:xfrm rot="5400000">
                <a:off x="3192645" y="-2386184"/>
                <a:ext cx="45719" cy="6431013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FFFFFF">
                  <a:alpha val="38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92C70583-4CFA-4154-9D98-BBBA2DF6EB90}"/>
                </a:ext>
              </a:extLst>
            </p:cNvPr>
            <p:cNvGrpSpPr/>
            <p:nvPr/>
          </p:nvGrpSpPr>
          <p:grpSpPr>
            <a:xfrm>
              <a:off x="-4" y="806463"/>
              <a:ext cx="7093002" cy="283968"/>
              <a:chOff x="-4" y="806463"/>
              <a:chExt cx="7093002" cy="283968"/>
            </a:xfrm>
          </p:grpSpPr>
          <p:sp>
            <p:nvSpPr>
              <p:cNvPr id="93" name="Rectangle: Top Corners Rounded 92">
                <a:extLst>
                  <a:ext uri="{FF2B5EF4-FFF2-40B4-BE49-F238E27FC236}">
                    <a16:creationId xmlns:a16="http://schemas.microsoft.com/office/drawing/2014/main" id="{BC131FFB-1600-4EF6-B921-4F282DC6376A}"/>
                  </a:ext>
                </a:extLst>
              </p:cNvPr>
              <p:cNvSpPr/>
              <p:nvPr/>
            </p:nvSpPr>
            <p:spPr>
              <a:xfrm rot="5400000">
                <a:off x="3327380" y="-2439425"/>
                <a:ext cx="115267" cy="677002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>
                  <a:alpha val="32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Rectangle: Top Corners Rounded 93">
                <a:extLst>
                  <a:ext uri="{FF2B5EF4-FFF2-40B4-BE49-F238E27FC236}">
                    <a16:creationId xmlns:a16="http://schemas.microsoft.com/office/drawing/2014/main" id="{BA1F0F77-4A89-49A2-8776-0FC94FD588A6}"/>
                  </a:ext>
                </a:extLst>
              </p:cNvPr>
              <p:cNvSpPr/>
              <p:nvPr/>
            </p:nvSpPr>
            <p:spPr>
              <a:xfrm rot="5400000">
                <a:off x="3523637" y="-2478929"/>
                <a:ext cx="45719" cy="709300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FFFFFF">
                  <a:alpha val="22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Rectangle: Top Corners Rounded 94">
                <a:extLst>
                  <a:ext uri="{FF2B5EF4-FFF2-40B4-BE49-F238E27FC236}">
                    <a16:creationId xmlns:a16="http://schemas.microsoft.com/office/drawing/2014/main" id="{F5AA3177-1196-49AB-AE4A-BB72D9C6C9B7}"/>
                  </a:ext>
                </a:extLst>
              </p:cNvPr>
              <p:cNvSpPr/>
              <p:nvPr/>
            </p:nvSpPr>
            <p:spPr>
              <a:xfrm rot="5400000">
                <a:off x="3192645" y="-2386184"/>
                <a:ext cx="45719" cy="6431013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FFFFFF">
                  <a:alpha val="38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5BC120C7-35FF-44BC-880B-AA2A8A74B59B}"/>
                </a:ext>
              </a:extLst>
            </p:cNvPr>
            <p:cNvGrpSpPr/>
            <p:nvPr userDrawn="1"/>
          </p:nvGrpSpPr>
          <p:grpSpPr>
            <a:xfrm>
              <a:off x="-2" y="4268790"/>
              <a:ext cx="9167375" cy="47005"/>
              <a:chOff x="-2" y="4268790"/>
              <a:chExt cx="9167375" cy="47005"/>
            </a:xfrm>
          </p:grpSpPr>
          <p:sp>
            <p:nvSpPr>
              <p:cNvPr id="83" name="Rectangle: Top Corners Rounded 82">
                <a:extLst>
                  <a:ext uri="{FF2B5EF4-FFF2-40B4-BE49-F238E27FC236}">
                    <a16:creationId xmlns:a16="http://schemas.microsoft.com/office/drawing/2014/main" id="{C2D9C463-2D7B-4B73-9292-277873B0D9C7}"/>
                  </a:ext>
                </a:extLst>
              </p:cNvPr>
              <p:cNvSpPr/>
              <p:nvPr/>
            </p:nvSpPr>
            <p:spPr>
              <a:xfrm rot="16200000" flipH="1">
                <a:off x="5088095" y="258605"/>
                <a:ext cx="45719" cy="806609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Rectangle: Top Corners Rounded 83">
                <a:extLst>
                  <a:ext uri="{FF2B5EF4-FFF2-40B4-BE49-F238E27FC236}">
                    <a16:creationId xmlns:a16="http://schemas.microsoft.com/office/drawing/2014/main" id="{0EE219E3-9199-4C31-A43C-3E91A3E49DA9}"/>
                  </a:ext>
                </a:extLst>
              </p:cNvPr>
              <p:cNvSpPr/>
              <p:nvPr/>
            </p:nvSpPr>
            <p:spPr>
              <a:xfrm rot="5400000">
                <a:off x="4010184" y="258604"/>
                <a:ext cx="45719" cy="806609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>
                  <a:lumMod val="20000"/>
                  <a:lumOff val="8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7C581041-F834-4D85-9B28-46EBF7B51596}"/>
                  </a:ext>
                </a:extLst>
              </p:cNvPr>
              <p:cNvGrpSpPr/>
              <p:nvPr/>
            </p:nvGrpSpPr>
            <p:grpSpPr>
              <a:xfrm>
                <a:off x="8098629" y="4270072"/>
                <a:ext cx="1068744" cy="45723"/>
                <a:chOff x="8098632" y="4267655"/>
                <a:chExt cx="1197432" cy="51228"/>
              </a:xfrm>
            </p:grpSpPr>
            <p:sp>
              <p:nvSpPr>
                <p:cNvPr id="86" name="Oval 85">
                  <a:extLst>
                    <a:ext uri="{FF2B5EF4-FFF2-40B4-BE49-F238E27FC236}">
                      <a16:creationId xmlns:a16="http://schemas.microsoft.com/office/drawing/2014/main" id="{00B1A3E0-9D5A-47E2-8EFD-06972183A758}"/>
                    </a:ext>
                  </a:extLst>
                </p:cNvPr>
                <p:cNvSpPr/>
                <p:nvPr/>
              </p:nvSpPr>
              <p:spPr>
                <a:xfrm>
                  <a:off x="8098632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Oval 86">
                  <a:extLst>
                    <a:ext uri="{FF2B5EF4-FFF2-40B4-BE49-F238E27FC236}">
                      <a16:creationId xmlns:a16="http://schemas.microsoft.com/office/drawing/2014/main" id="{7ECD1AD2-9EA9-457E-B675-F1EC07F3138F}"/>
                    </a:ext>
                  </a:extLst>
                </p:cNvPr>
                <p:cNvSpPr/>
                <p:nvPr/>
              </p:nvSpPr>
              <p:spPr>
                <a:xfrm>
                  <a:off x="8183563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Oval 87">
                  <a:extLst>
                    <a:ext uri="{FF2B5EF4-FFF2-40B4-BE49-F238E27FC236}">
                      <a16:creationId xmlns:a16="http://schemas.microsoft.com/office/drawing/2014/main" id="{38734299-9D49-49E9-B326-D9137D909143}"/>
                    </a:ext>
                  </a:extLst>
                </p:cNvPr>
                <p:cNvSpPr/>
                <p:nvPr/>
              </p:nvSpPr>
              <p:spPr>
                <a:xfrm>
                  <a:off x="8283002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Oval 88">
                  <a:extLst>
                    <a:ext uri="{FF2B5EF4-FFF2-40B4-BE49-F238E27FC236}">
                      <a16:creationId xmlns:a16="http://schemas.microsoft.com/office/drawing/2014/main" id="{77C6B17E-82EB-4222-BD61-78B9587A5811}"/>
                    </a:ext>
                  </a:extLst>
                </p:cNvPr>
                <p:cNvSpPr/>
                <p:nvPr/>
              </p:nvSpPr>
              <p:spPr>
                <a:xfrm>
                  <a:off x="8467725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Oval 89">
                  <a:extLst>
                    <a:ext uri="{FF2B5EF4-FFF2-40B4-BE49-F238E27FC236}">
                      <a16:creationId xmlns:a16="http://schemas.microsoft.com/office/drawing/2014/main" id="{04AC5795-F784-4E70-8C58-8DE355C80D03}"/>
                    </a:ext>
                  </a:extLst>
                </p:cNvPr>
                <p:cNvSpPr/>
                <p:nvPr/>
              </p:nvSpPr>
              <p:spPr>
                <a:xfrm>
                  <a:off x="8649008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Oval 90">
                  <a:extLst>
                    <a:ext uri="{FF2B5EF4-FFF2-40B4-BE49-F238E27FC236}">
                      <a16:creationId xmlns:a16="http://schemas.microsoft.com/office/drawing/2014/main" id="{48E3C2B3-EFB9-4662-A180-C3A571D87800}"/>
                    </a:ext>
                  </a:extLst>
                </p:cNvPr>
                <p:cNvSpPr/>
                <p:nvPr/>
              </p:nvSpPr>
              <p:spPr>
                <a:xfrm>
                  <a:off x="8947150" y="4267655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Oval 91">
                  <a:extLst>
                    <a:ext uri="{FF2B5EF4-FFF2-40B4-BE49-F238E27FC236}">
                      <a16:creationId xmlns:a16="http://schemas.microsoft.com/office/drawing/2014/main" id="{79F4F850-3391-4241-BE86-4D33EE9457FF}"/>
                    </a:ext>
                  </a:extLst>
                </p:cNvPr>
                <p:cNvSpPr/>
                <p:nvPr/>
              </p:nvSpPr>
              <p:spPr>
                <a:xfrm>
                  <a:off x="9243676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7EE94720-0AF1-4357-B8D5-23C20202DC95}"/>
                </a:ext>
              </a:extLst>
            </p:cNvPr>
            <p:cNvSpPr/>
            <p:nvPr userDrawn="1"/>
          </p:nvSpPr>
          <p:spPr>
            <a:xfrm>
              <a:off x="7728746" y="837813"/>
              <a:ext cx="1162393" cy="1065190"/>
            </a:xfrm>
            <a:prstGeom prst="roundRect">
              <a:avLst/>
            </a:prstGeom>
            <a:noFill/>
            <a:ln w="12700" cap="flat" cmpd="sng" algn="ctr">
              <a:solidFill>
                <a:srgbClr val="FFFFFF">
                  <a:alpha val="30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9CA44E7B-692C-40F6-8B4C-B5CB1803D2CE}"/>
                </a:ext>
              </a:extLst>
            </p:cNvPr>
            <p:cNvSpPr/>
            <p:nvPr userDrawn="1"/>
          </p:nvSpPr>
          <p:spPr>
            <a:xfrm>
              <a:off x="7548886" y="1653708"/>
              <a:ext cx="536287" cy="491441"/>
            </a:xfrm>
            <a:prstGeom prst="roundRect">
              <a:avLst/>
            </a:prstGeom>
            <a:noFill/>
            <a:ln w="12700" cap="flat" cmpd="sng" algn="ctr">
              <a:solidFill>
                <a:srgbClr val="FFFFFF">
                  <a:alpha val="15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401C85DF-517D-4818-B624-F039DCF32CB9}"/>
                </a:ext>
              </a:extLst>
            </p:cNvPr>
            <p:cNvSpPr/>
            <p:nvPr userDrawn="1"/>
          </p:nvSpPr>
          <p:spPr>
            <a:xfrm>
              <a:off x="317089" y="3917301"/>
              <a:ext cx="536287" cy="491441"/>
            </a:xfrm>
            <a:prstGeom prst="roundRect">
              <a:avLst/>
            </a:prstGeom>
            <a:noFill/>
            <a:ln w="12700" cap="flat" cmpd="sng" algn="ctr">
              <a:solidFill>
                <a:srgbClr val="FFFFFF">
                  <a:alpha val="40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E079FB0F-2E61-4781-97A8-D41A27D2D8F7}"/>
                </a:ext>
              </a:extLst>
            </p:cNvPr>
            <p:cNvGrpSpPr/>
            <p:nvPr userDrawn="1"/>
          </p:nvGrpSpPr>
          <p:grpSpPr>
            <a:xfrm>
              <a:off x="565829" y="712444"/>
              <a:ext cx="6973489" cy="2067177"/>
              <a:chOff x="-6255456" y="862020"/>
              <a:chExt cx="6973489" cy="2067177"/>
            </a:xfrm>
          </p:grpSpPr>
          <p:sp>
            <p:nvSpPr>
              <p:cNvPr id="80" name="Rectangle: Rounded Corners 79">
                <a:extLst>
                  <a:ext uri="{FF2B5EF4-FFF2-40B4-BE49-F238E27FC236}">
                    <a16:creationId xmlns:a16="http://schemas.microsoft.com/office/drawing/2014/main" id="{6C078611-63CB-491B-B8AA-0B8BA5CA889F}"/>
                  </a:ext>
                </a:extLst>
              </p:cNvPr>
              <p:cNvSpPr/>
              <p:nvPr userDrawn="1"/>
            </p:nvSpPr>
            <p:spPr>
              <a:xfrm>
                <a:off x="361298" y="2720664"/>
                <a:ext cx="227562" cy="208533"/>
              </a:xfrm>
              <a:prstGeom prst="roundRect">
                <a:avLst/>
              </a:prstGeom>
              <a:noFill/>
              <a:ln w="12700" cap="flat" cmpd="sng" algn="ctr">
                <a:solidFill>
                  <a:srgbClr val="FFFFFF">
                    <a:alpha val="40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Rectangle: Rounded Corners 80">
                <a:extLst>
                  <a:ext uri="{FF2B5EF4-FFF2-40B4-BE49-F238E27FC236}">
                    <a16:creationId xmlns:a16="http://schemas.microsoft.com/office/drawing/2014/main" id="{58BFC2A8-6A29-4478-A218-7FA2B681E39E}"/>
                  </a:ext>
                </a:extLst>
              </p:cNvPr>
              <p:cNvSpPr/>
              <p:nvPr userDrawn="1"/>
            </p:nvSpPr>
            <p:spPr>
              <a:xfrm>
                <a:off x="490471" y="2589978"/>
                <a:ext cx="227562" cy="208533"/>
              </a:xfrm>
              <a:prstGeom prst="roundRect">
                <a:avLst/>
              </a:prstGeom>
              <a:noFill/>
              <a:ln w="12700" cap="flat" cmpd="sng" algn="ctr">
                <a:solidFill>
                  <a:srgbClr val="FFFFFF">
                    <a:alpha val="20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2" name="Rectangle: Rounded Corners 81">
                <a:extLst>
                  <a:ext uri="{FF2B5EF4-FFF2-40B4-BE49-F238E27FC236}">
                    <a16:creationId xmlns:a16="http://schemas.microsoft.com/office/drawing/2014/main" id="{8AF6E614-E243-47E3-BE86-AF3ECE579FD7}"/>
                  </a:ext>
                </a:extLst>
              </p:cNvPr>
              <p:cNvSpPr/>
              <p:nvPr userDrawn="1"/>
            </p:nvSpPr>
            <p:spPr>
              <a:xfrm>
                <a:off x="-6255456" y="862020"/>
                <a:ext cx="227562" cy="208533"/>
              </a:xfrm>
              <a:prstGeom prst="roundRect">
                <a:avLst/>
              </a:prstGeom>
              <a:noFill/>
              <a:ln w="12700" cap="flat" cmpd="sng" algn="ctr">
                <a:solidFill>
                  <a:srgbClr val="FFFFFF">
                    <a:alpha val="20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06BEF2CB-CA82-4E7C-BAF6-3E314BA5ED20}"/>
                </a:ext>
              </a:extLst>
            </p:cNvPr>
            <p:cNvSpPr/>
            <p:nvPr userDrawn="1"/>
          </p:nvSpPr>
          <p:spPr>
            <a:xfrm>
              <a:off x="4044730" y="1194647"/>
              <a:ext cx="138367" cy="135616"/>
            </a:xfrm>
            <a:prstGeom prst="roundRect">
              <a:avLst>
                <a:gd name="adj" fmla="val 24179"/>
              </a:avLst>
            </a:prstGeom>
            <a:noFill/>
            <a:ln w="12700" cap="flat" cmpd="sng" algn="ctr">
              <a:solidFill>
                <a:srgbClr val="FFFFFF">
                  <a:alpha val="40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sp>
          <p:nvSpPr>
            <p:cNvPr id="66" name="Rectangle: Rounded Corners 65">
              <a:extLst>
                <a:ext uri="{FF2B5EF4-FFF2-40B4-BE49-F238E27FC236}">
                  <a16:creationId xmlns:a16="http://schemas.microsoft.com/office/drawing/2014/main" id="{0C83B8EC-009F-4B4A-90A7-B92D80A505BE}"/>
                </a:ext>
              </a:extLst>
            </p:cNvPr>
            <p:cNvSpPr/>
            <p:nvPr userDrawn="1"/>
          </p:nvSpPr>
          <p:spPr>
            <a:xfrm>
              <a:off x="7897238" y="3106680"/>
              <a:ext cx="138367" cy="126797"/>
            </a:xfrm>
            <a:prstGeom prst="roundRect">
              <a:avLst/>
            </a:prstGeom>
            <a:noFill/>
            <a:ln w="12700" cap="flat" cmpd="sng" algn="ctr">
              <a:solidFill>
                <a:srgbClr val="FFFFFF">
                  <a:alpha val="20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04A7036-5B44-42B7-966C-B0FF1CF7BDFA}"/>
                </a:ext>
              </a:extLst>
            </p:cNvPr>
            <p:cNvGrpSpPr/>
            <p:nvPr userDrawn="1"/>
          </p:nvGrpSpPr>
          <p:grpSpPr>
            <a:xfrm flipH="1">
              <a:off x="-11688" y="592243"/>
              <a:ext cx="9167375" cy="47005"/>
              <a:chOff x="-2" y="4268790"/>
              <a:chExt cx="9167375" cy="47005"/>
            </a:xfrm>
          </p:grpSpPr>
          <p:sp>
            <p:nvSpPr>
              <p:cNvPr id="70" name="Rectangle: Top Corners Rounded 69">
                <a:extLst>
                  <a:ext uri="{FF2B5EF4-FFF2-40B4-BE49-F238E27FC236}">
                    <a16:creationId xmlns:a16="http://schemas.microsoft.com/office/drawing/2014/main" id="{BE893962-00AD-4326-B5D9-6102F6B30598}"/>
                  </a:ext>
                </a:extLst>
              </p:cNvPr>
              <p:cNvSpPr/>
              <p:nvPr/>
            </p:nvSpPr>
            <p:spPr>
              <a:xfrm rot="16200000" flipH="1">
                <a:off x="5088095" y="258605"/>
                <a:ext cx="45719" cy="806609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1" name="Rectangle: Top Corners Rounded 70">
                <a:extLst>
                  <a:ext uri="{FF2B5EF4-FFF2-40B4-BE49-F238E27FC236}">
                    <a16:creationId xmlns:a16="http://schemas.microsoft.com/office/drawing/2014/main" id="{AFB8A1B6-0F78-4738-BC4F-1B7488ED4088}"/>
                  </a:ext>
                </a:extLst>
              </p:cNvPr>
              <p:cNvSpPr/>
              <p:nvPr/>
            </p:nvSpPr>
            <p:spPr>
              <a:xfrm rot="5400000">
                <a:off x="4010184" y="258604"/>
                <a:ext cx="45719" cy="8066091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009FDA">
                  <a:lumMod val="20000"/>
                  <a:lumOff val="8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pis For Office" panose="020B05040101010101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466815D7-D9A8-4BE3-A498-2D774EC5E2BA}"/>
                  </a:ext>
                </a:extLst>
              </p:cNvPr>
              <p:cNvGrpSpPr/>
              <p:nvPr/>
            </p:nvGrpSpPr>
            <p:grpSpPr>
              <a:xfrm>
                <a:off x="8098629" y="4270072"/>
                <a:ext cx="1068744" cy="45723"/>
                <a:chOff x="8098632" y="4267655"/>
                <a:chExt cx="1197432" cy="51228"/>
              </a:xfrm>
            </p:grpSpPr>
            <p:sp>
              <p:nvSpPr>
                <p:cNvPr id="73" name="Oval 72">
                  <a:extLst>
                    <a:ext uri="{FF2B5EF4-FFF2-40B4-BE49-F238E27FC236}">
                      <a16:creationId xmlns:a16="http://schemas.microsoft.com/office/drawing/2014/main" id="{13EC61EA-18EA-4B81-B8F0-E7368A056B13}"/>
                    </a:ext>
                  </a:extLst>
                </p:cNvPr>
                <p:cNvSpPr/>
                <p:nvPr/>
              </p:nvSpPr>
              <p:spPr>
                <a:xfrm>
                  <a:off x="8098632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Oval 73">
                  <a:extLst>
                    <a:ext uri="{FF2B5EF4-FFF2-40B4-BE49-F238E27FC236}">
                      <a16:creationId xmlns:a16="http://schemas.microsoft.com/office/drawing/2014/main" id="{11B24DD3-B389-4208-91EC-3A3814BAFFCB}"/>
                    </a:ext>
                  </a:extLst>
                </p:cNvPr>
                <p:cNvSpPr/>
                <p:nvPr/>
              </p:nvSpPr>
              <p:spPr>
                <a:xfrm>
                  <a:off x="8183563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Oval 74">
                  <a:extLst>
                    <a:ext uri="{FF2B5EF4-FFF2-40B4-BE49-F238E27FC236}">
                      <a16:creationId xmlns:a16="http://schemas.microsoft.com/office/drawing/2014/main" id="{B7B1FFDC-F643-40BE-8468-9725F8D6C771}"/>
                    </a:ext>
                  </a:extLst>
                </p:cNvPr>
                <p:cNvSpPr/>
                <p:nvPr/>
              </p:nvSpPr>
              <p:spPr>
                <a:xfrm>
                  <a:off x="8283002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Oval 75">
                  <a:extLst>
                    <a:ext uri="{FF2B5EF4-FFF2-40B4-BE49-F238E27FC236}">
                      <a16:creationId xmlns:a16="http://schemas.microsoft.com/office/drawing/2014/main" id="{E5EE4C3A-3FD5-4DE1-AA88-44C4A85014D2}"/>
                    </a:ext>
                  </a:extLst>
                </p:cNvPr>
                <p:cNvSpPr/>
                <p:nvPr/>
              </p:nvSpPr>
              <p:spPr>
                <a:xfrm>
                  <a:off x="8467725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Oval 76">
                  <a:extLst>
                    <a:ext uri="{FF2B5EF4-FFF2-40B4-BE49-F238E27FC236}">
                      <a16:creationId xmlns:a16="http://schemas.microsoft.com/office/drawing/2014/main" id="{B1562EEE-F250-481F-A686-BB8D3F291D2A}"/>
                    </a:ext>
                  </a:extLst>
                </p:cNvPr>
                <p:cNvSpPr/>
                <p:nvPr/>
              </p:nvSpPr>
              <p:spPr>
                <a:xfrm>
                  <a:off x="8649008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Oval 77">
                  <a:extLst>
                    <a:ext uri="{FF2B5EF4-FFF2-40B4-BE49-F238E27FC236}">
                      <a16:creationId xmlns:a16="http://schemas.microsoft.com/office/drawing/2014/main" id="{FDAF47BC-F8FC-48FF-8F8C-5056D93BEC83}"/>
                    </a:ext>
                  </a:extLst>
                </p:cNvPr>
                <p:cNvSpPr/>
                <p:nvPr/>
              </p:nvSpPr>
              <p:spPr>
                <a:xfrm>
                  <a:off x="8947150" y="4267655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Oval 78">
                  <a:extLst>
                    <a:ext uri="{FF2B5EF4-FFF2-40B4-BE49-F238E27FC236}">
                      <a16:creationId xmlns:a16="http://schemas.microsoft.com/office/drawing/2014/main" id="{63A5196B-659A-449B-82EA-3296DED56E5D}"/>
                    </a:ext>
                  </a:extLst>
                </p:cNvPr>
                <p:cNvSpPr/>
                <p:nvPr/>
              </p:nvSpPr>
              <p:spPr>
                <a:xfrm>
                  <a:off x="9243676" y="4267659"/>
                  <a:ext cx="52388" cy="51224"/>
                </a:xfrm>
                <a:prstGeom prst="ellipse">
                  <a:avLst/>
                </a:prstGeom>
                <a:solidFill>
                  <a:srgbClr val="009FDA">
                    <a:lumMod val="20000"/>
                    <a:lumOff val="8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121917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pis For Office" panose="020B0504010101010104" pitchFamily="34" charset="0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8" name="Rectangle: Top Corners Rounded 67">
              <a:extLst>
                <a:ext uri="{FF2B5EF4-FFF2-40B4-BE49-F238E27FC236}">
                  <a16:creationId xmlns:a16="http://schemas.microsoft.com/office/drawing/2014/main" id="{76A52E9F-5B7B-41FC-B16A-57E2C4BF4115}"/>
                </a:ext>
              </a:extLst>
            </p:cNvPr>
            <p:cNvSpPr/>
            <p:nvPr userDrawn="1"/>
          </p:nvSpPr>
          <p:spPr>
            <a:xfrm rot="5400000">
              <a:off x="2640683" y="-1083883"/>
              <a:ext cx="1484008" cy="6774682"/>
            </a:xfrm>
            <a:prstGeom prst="round2SameRect">
              <a:avLst>
                <a:gd name="adj1" fmla="val 10249"/>
                <a:gd name="adj2" fmla="val 0"/>
              </a:avLst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id="{0D1F6480-9AA2-481F-BF5E-E537B795E7BF}"/>
                </a:ext>
              </a:extLst>
            </p:cNvPr>
            <p:cNvSpPr/>
            <p:nvPr userDrawn="1"/>
          </p:nvSpPr>
          <p:spPr>
            <a:xfrm>
              <a:off x="6162867" y="3565751"/>
              <a:ext cx="536287" cy="491441"/>
            </a:xfrm>
            <a:prstGeom prst="roundRect">
              <a:avLst/>
            </a:prstGeom>
            <a:noFill/>
            <a:ln w="12700" cap="flat" cmpd="sng" algn="ctr">
              <a:solidFill>
                <a:srgbClr val="FFFFFF">
                  <a:alpha val="40000"/>
                </a:srgbClr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 panose="020B0504010101010104" pitchFamily="34" charset="0"/>
                <a:ea typeface="+mn-ea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2" y="2123633"/>
            <a:ext cx="8284205" cy="1337767"/>
          </a:xfrm>
        </p:spPr>
        <p:txBody>
          <a:bodyPr tIns="91440" bIns="91440" anchor="b" anchorCtr="0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4000" y="324000"/>
            <a:ext cx="4488000" cy="324000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7CC7667B-71FE-473D-AE19-E08F2682BD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3" name="Tagline" descr="{&quot;templafy&quot;:{&quot;id&quot;:&quot;237cc8ce-a8bb-493a-8167-0dbb0fdc5d51&quot;}}" title="Form.PLogoChoice.PLogoInsertion">
            <a:extLst>
              <a:ext uri="{FF2B5EF4-FFF2-40B4-BE49-F238E27FC236}">
                <a16:creationId xmlns:a16="http://schemas.microsoft.com/office/drawing/2014/main" id="{8AE78219-5CBB-4760-B800-636AFE0A99A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err="1">
              <a:latin typeface="Apis For Office" panose="020B05040101010101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F71D66-8A8E-4C10-A476-314785641A0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2" y="3568191"/>
            <a:ext cx="8284205" cy="661856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 marL="269993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Date Placeholder 6">
            <a:extLst>
              <a:ext uri="{FF2B5EF4-FFF2-40B4-BE49-F238E27FC236}">
                <a16:creationId xmlns:a16="http://schemas.microsoft.com/office/drawing/2014/main" id="{AA4298F5-860C-4CD1-BA18-36787A8004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2000" y="324000"/>
            <a:ext cx="1920000" cy="125851"/>
          </a:xfrm>
        </p:spPr>
        <p:txBody>
          <a:bodyPr/>
          <a:lstStyle/>
          <a:p>
            <a:fld id="{3406E89B-F1B0-48A4-8827-107446FBFBCE}" type="datetime3">
              <a:rPr lang="en-US" smtClean="0"/>
              <a:t>29 January 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099381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36357" y="2163600"/>
            <a:ext cx="6408844" cy="2379600"/>
          </a:xfrm>
        </p:spPr>
        <p:txBody>
          <a:bodyPr anchor="ctr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3DB85B7-7760-4094-B5B7-6A45B6116B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36000" y="5644800"/>
            <a:ext cx="1920000" cy="15480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nam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2BFF97BE-94AD-42AA-A3DB-5B131AB35A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36000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1A1E9AD3-ADA1-4763-9893-4057C2CF9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80355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place</a:t>
            </a:r>
          </a:p>
        </p:txBody>
      </p:sp>
      <p:sp>
        <p:nvSpPr>
          <p:cNvPr id="31" name="Date Placeholder 6">
            <a:extLst>
              <a:ext uri="{FF2B5EF4-FFF2-40B4-BE49-F238E27FC236}">
                <a16:creationId xmlns:a16="http://schemas.microsoft.com/office/drawing/2014/main" id="{353E10AF-D600-4770-A150-4A8ED3F945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380356" y="56448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fld id="{3F25DEB1-9082-41D4-925C-113F57199754}" type="datetime3">
              <a:rPr lang="en-US" smtClean="0"/>
              <a:t>29 January 2025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7ACB837-D775-4027-8A9A-8A934ABD2C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4000" y="324000"/>
            <a:ext cx="4488000" cy="6210000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and insert picture via Templafy</a:t>
            </a:r>
          </a:p>
        </p:txBody>
      </p:sp>
      <p:sp>
        <p:nvSpPr>
          <p:cNvPr id="11" name="Footer Placeholder 7">
            <a:extLst>
              <a:ext uri="{FF2B5EF4-FFF2-40B4-BE49-F238E27FC236}">
                <a16:creationId xmlns:a16="http://schemas.microsoft.com/office/drawing/2014/main" id="{3619EDAC-4320-41F5-B9CB-6CF8C3F2CC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625912" y="5900401"/>
            <a:ext cx="1919288" cy="308313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6EC1ABD1-7336-4768-9B10-EE224AA916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3" name="Tagline" descr="{&quot;templafy&quot;:{&quot;id&quot;:&quot;700a8faa-b58a-4b99-819f-a7f3960b569f&quot;}}" title="Form.PLogoChoice.PLogoInsertion">
            <a:extLst>
              <a:ext uri="{FF2B5EF4-FFF2-40B4-BE49-F238E27FC236}">
                <a16:creationId xmlns:a16="http://schemas.microsoft.com/office/drawing/2014/main" id="{CFCDB02C-C393-45D0-9339-45B1931BD426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627515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7E7C513-B1CD-4706-976C-28D5F1922773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err="1">
              <a:latin typeface="Apis For Office" panose="020B05040101010101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648000"/>
            <a:ext cx="8652001" cy="5562000"/>
          </a:xfrm>
        </p:spPr>
        <p:txBody>
          <a:bodyPr anchor="ctr"/>
          <a:lstStyle>
            <a:lvl1pPr algn="l"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1ECBE65-010C-4D94-BF91-EEE143A55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C5F5319-D51F-4DBA-A0E1-97AB58098185}" type="datetime3">
              <a:rPr lang="en-US" smtClean="0"/>
              <a:t>29 January 2025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F5C669B-1714-4943-9D5E-0E675970E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84D7319-E350-433D-A2B8-30EE77938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4AEF0E-2F4C-4353-B6DB-EE5157B006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8652000" cy="324000"/>
          </a:xfrm>
        </p:spPr>
        <p:txBody>
          <a:bodyPr anchor="b"/>
          <a:lstStyle>
            <a:lvl1pPr marL="0" indent="0">
              <a:buNone/>
              <a:defRPr sz="1067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3602F927-C35A-415E-909F-7517AD1B0FFA}"/>
              </a:ext>
            </a:extLst>
          </p:cNvPr>
          <p:cNvSpPr/>
          <p:nvPr userDrawn="1"/>
        </p:nvSpPr>
        <p:spPr>
          <a:xfrm>
            <a:off x="11172825" y="321620"/>
            <a:ext cx="701251" cy="499913"/>
          </a:xfrm>
          <a:custGeom>
            <a:avLst/>
            <a:gdLst>
              <a:gd name="connsiteX0" fmla="*/ 3724334 w 5293529"/>
              <a:gd name="connsiteY0" fmla="*/ 3284754 h 3773692"/>
              <a:gd name="connsiteX1" fmla="*/ 3564286 w 5293529"/>
              <a:gd name="connsiteY1" fmla="*/ 3490983 h 3773692"/>
              <a:gd name="connsiteX2" fmla="*/ 3731094 w 5293529"/>
              <a:gd name="connsiteY2" fmla="*/ 3713664 h 3773692"/>
              <a:gd name="connsiteX3" fmla="*/ 3819792 w 5293529"/>
              <a:gd name="connsiteY3" fmla="*/ 3673021 h 3773692"/>
              <a:gd name="connsiteX4" fmla="*/ 3820769 w 5293529"/>
              <a:gd name="connsiteY4" fmla="*/ 3673021 h 3773692"/>
              <a:gd name="connsiteX5" fmla="*/ 3820769 w 5293529"/>
              <a:gd name="connsiteY5" fmla="*/ 3317659 h 3773692"/>
              <a:gd name="connsiteX6" fmla="*/ 3724334 w 5293529"/>
              <a:gd name="connsiteY6" fmla="*/ 3284754 h 3773692"/>
              <a:gd name="connsiteX7" fmla="*/ 2874414 w 5293529"/>
              <a:gd name="connsiteY7" fmla="*/ 3278646 h 3773692"/>
              <a:gd name="connsiteX8" fmla="*/ 2787589 w 5293529"/>
              <a:gd name="connsiteY8" fmla="*/ 3312529 h 3773692"/>
              <a:gd name="connsiteX9" fmla="*/ 2740267 w 5293529"/>
              <a:gd name="connsiteY9" fmla="*/ 3497581 h 3773692"/>
              <a:gd name="connsiteX10" fmla="*/ 2787589 w 5293529"/>
              <a:gd name="connsiteY10" fmla="*/ 3681655 h 3773692"/>
              <a:gd name="connsiteX11" fmla="*/ 2874414 w 5293529"/>
              <a:gd name="connsiteY11" fmla="*/ 3714560 h 3773692"/>
              <a:gd name="connsiteX12" fmla="*/ 2963193 w 5293529"/>
              <a:gd name="connsiteY12" fmla="*/ 3681655 h 3773692"/>
              <a:gd name="connsiteX13" fmla="*/ 3010515 w 5293529"/>
              <a:gd name="connsiteY13" fmla="*/ 3497581 h 3773692"/>
              <a:gd name="connsiteX14" fmla="*/ 2963193 w 5293529"/>
              <a:gd name="connsiteY14" fmla="*/ 3312529 h 3773692"/>
              <a:gd name="connsiteX15" fmla="*/ 2874414 w 5293529"/>
              <a:gd name="connsiteY15" fmla="*/ 3278646 h 3773692"/>
              <a:gd name="connsiteX16" fmla="*/ 1638997 w 5293529"/>
              <a:gd name="connsiteY16" fmla="*/ 3278646 h 3773692"/>
              <a:gd name="connsiteX17" fmla="*/ 1549810 w 5293529"/>
              <a:gd name="connsiteY17" fmla="*/ 3312529 h 3773692"/>
              <a:gd name="connsiteX18" fmla="*/ 1502326 w 5293529"/>
              <a:gd name="connsiteY18" fmla="*/ 3497581 h 3773692"/>
              <a:gd name="connsiteX19" fmla="*/ 1549810 w 5293529"/>
              <a:gd name="connsiteY19" fmla="*/ 3681655 h 3773692"/>
              <a:gd name="connsiteX20" fmla="*/ 1638997 w 5293529"/>
              <a:gd name="connsiteY20" fmla="*/ 3714560 h 3773692"/>
              <a:gd name="connsiteX21" fmla="*/ 1726229 w 5293529"/>
              <a:gd name="connsiteY21" fmla="*/ 3681655 h 3773692"/>
              <a:gd name="connsiteX22" fmla="*/ 1773713 w 5293529"/>
              <a:gd name="connsiteY22" fmla="*/ 3497581 h 3773692"/>
              <a:gd name="connsiteX23" fmla="*/ 1726229 w 5293529"/>
              <a:gd name="connsiteY23" fmla="*/ 3312529 h 3773692"/>
              <a:gd name="connsiteX24" fmla="*/ 1638997 w 5293529"/>
              <a:gd name="connsiteY24" fmla="*/ 3278646 h 3773692"/>
              <a:gd name="connsiteX25" fmla="*/ 714389 w 5293529"/>
              <a:gd name="connsiteY25" fmla="*/ 3278646 h 3773692"/>
              <a:gd name="connsiteX26" fmla="*/ 627157 w 5293529"/>
              <a:gd name="connsiteY26" fmla="*/ 3312529 h 3773692"/>
              <a:gd name="connsiteX27" fmla="*/ 579672 w 5293529"/>
              <a:gd name="connsiteY27" fmla="*/ 3497581 h 3773692"/>
              <a:gd name="connsiteX28" fmla="*/ 627157 w 5293529"/>
              <a:gd name="connsiteY28" fmla="*/ 3681655 h 3773692"/>
              <a:gd name="connsiteX29" fmla="*/ 714389 w 5293529"/>
              <a:gd name="connsiteY29" fmla="*/ 3714560 h 3773692"/>
              <a:gd name="connsiteX30" fmla="*/ 802598 w 5293529"/>
              <a:gd name="connsiteY30" fmla="*/ 3681655 h 3773692"/>
              <a:gd name="connsiteX31" fmla="*/ 850082 w 5293529"/>
              <a:gd name="connsiteY31" fmla="*/ 3497581 h 3773692"/>
              <a:gd name="connsiteX32" fmla="*/ 802598 w 5293529"/>
              <a:gd name="connsiteY32" fmla="*/ 3312529 h 3773692"/>
              <a:gd name="connsiteX33" fmla="*/ 714389 w 5293529"/>
              <a:gd name="connsiteY33" fmla="*/ 3278646 h 3773692"/>
              <a:gd name="connsiteX34" fmla="*/ 4044917 w 5293529"/>
              <a:gd name="connsiteY34" fmla="*/ 3233767 h 3773692"/>
              <a:gd name="connsiteX35" fmla="*/ 4097696 w 5293529"/>
              <a:gd name="connsiteY35" fmla="*/ 3233767 h 3773692"/>
              <a:gd name="connsiteX36" fmla="*/ 4116918 w 5293529"/>
              <a:gd name="connsiteY36" fmla="*/ 3252093 h 3773692"/>
              <a:gd name="connsiteX37" fmla="*/ 4116918 w 5293529"/>
              <a:gd name="connsiteY37" fmla="*/ 3739728 h 3773692"/>
              <a:gd name="connsiteX38" fmla="*/ 4097777 w 5293529"/>
              <a:gd name="connsiteY38" fmla="*/ 3758054 h 3773692"/>
              <a:gd name="connsiteX39" fmla="*/ 4043043 w 5293529"/>
              <a:gd name="connsiteY39" fmla="*/ 3758054 h 3773692"/>
              <a:gd name="connsiteX40" fmla="*/ 4027650 w 5293529"/>
              <a:gd name="connsiteY40" fmla="*/ 3739728 h 3773692"/>
              <a:gd name="connsiteX41" fmla="*/ 4027650 w 5293529"/>
              <a:gd name="connsiteY41" fmla="*/ 3252093 h 3773692"/>
              <a:gd name="connsiteX42" fmla="*/ 4044917 w 5293529"/>
              <a:gd name="connsiteY42" fmla="*/ 3233767 h 3773692"/>
              <a:gd name="connsiteX43" fmla="*/ 4934502 w 5293529"/>
              <a:gd name="connsiteY43" fmla="*/ 3231242 h 3773692"/>
              <a:gd name="connsiteX44" fmla="*/ 4982068 w 5293529"/>
              <a:gd name="connsiteY44" fmla="*/ 3231242 h 3773692"/>
              <a:gd name="connsiteX45" fmla="*/ 5000475 w 5293529"/>
              <a:gd name="connsiteY45" fmla="*/ 3242808 h 3773692"/>
              <a:gd name="connsiteX46" fmla="*/ 4995588 w 5293529"/>
              <a:gd name="connsiteY46" fmla="*/ 3263088 h 3773692"/>
              <a:gd name="connsiteX47" fmla="*/ 4814120 w 5293529"/>
              <a:gd name="connsiteY47" fmla="*/ 3476729 h 3773692"/>
              <a:gd name="connsiteX48" fmla="*/ 4816075 w 5293529"/>
              <a:gd name="connsiteY48" fmla="*/ 3478684 h 3773692"/>
              <a:gd name="connsiteX49" fmla="*/ 5008213 w 5293529"/>
              <a:gd name="connsiteY49" fmla="*/ 3732967 h 3773692"/>
              <a:gd name="connsiteX50" fmla="*/ 5014973 w 5293529"/>
              <a:gd name="connsiteY50" fmla="*/ 3745511 h 3773692"/>
              <a:gd name="connsiteX51" fmla="*/ 5000475 w 5293529"/>
              <a:gd name="connsiteY51" fmla="*/ 3758135 h 3773692"/>
              <a:gd name="connsiteX52" fmla="*/ 4931570 w 5293529"/>
              <a:gd name="connsiteY52" fmla="*/ 3758135 h 3773692"/>
              <a:gd name="connsiteX53" fmla="*/ 4901515 w 5293529"/>
              <a:gd name="connsiteY53" fmla="*/ 3742660 h 3773692"/>
              <a:gd name="connsiteX54" fmla="*/ 4721024 w 5293529"/>
              <a:gd name="connsiteY54" fmla="*/ 3484548 h 3773692"/>
              <a:gd name="connsiteX55" fmla="*/ 4720047 w 5293529"/>
              <a:gd name="connsiteY55" fmla="*/ 3478766 h 3773692"/>
              <a:gd name="connsiteX56" fmla="*/ 4723956 w 5293529"/>
              <a:gd name="connsiteY56" fmla="*/ 3472982 h 3773692"/>
              <a:gd name="connsiteX57" fmla="*/ 4903470 w 5293529"/>
              <a:gd name="connsiteY57" fmla="*/ 3247695 h 3773692"/>
              <a:gd name="connsiteX58" fmla="*/ 4934502 w 5293529"/>
              <a:gd name="connsiteY58" fmla="*/ 3231242 h 3773692"/>
              <a:gd name="connsiteX59" fmla="*/ 972337 w 5293529"/>
              <a:gd name="connsiteY59" fmla="*/ 3231242 h 3773692"/>
              <a:gd name="connsiteX60" fmla="*/ 1034320 w 5293529"/>
              <a:gd name="connsiteY60" fmla="*/ 3231242 h 3773692"/>
              <a:gd name="connsiteX61" fmla="*/ 1057533 w 5293529"/>
              <a:gd name="connsiteY61" fmla="*/ 3247695 h 3773692"/>
              <a:gd name="connsiteX62" fmla="*/ 1193145 w 5293529"/>
              <a:gd name="connsiteY62" fmla="*/ 3633111 h 3773692"/>
              <a:gd name="connsiteX63" fmla="*/ 1324929 w 5293529"/>
              <a:gd name="connsiteY63" fmla="*/ 3245740 h 3773692"/>
              <a:gd name="connsiteX64" fmla="*/ 1337554 w 5293529"/>
              <a:gd name="connsiteY64" fmla="*/ 3231242 h 3773692"/>
              <a:gd name="connsiteX65" fmla="*/ 1387971 w 5293529"/>
              <a:gd name="connsiteY65" fmla="*/ 3231242 h 3773692"/>
              <a:gd name="connsiteX66" fmla="*/ 1400595 w 5293529"/>
              <a:gd name="connsiteY66" fmla="*/ 3241912 h 3773692"/>
              <a:gd name="connsiteX67" fmla="*/ 1398641 w 5293529"/>
              <a:gd name="connsiteY67" fmla="*/ 3257387 h 3773692"/>
              <a:gd name="connsiteX68" fmla="*/ 1220349 w 5293529"/>
              <a:gd name="connsiteY68" fmla="*/ 3742497 h 3773692"/>
              <a:gd name="connsiteX69" fmla="*/ 1201942 w 5293529"/>
              <a:gd name="connsiteY69" fmla="*/ 3757972 h 3773692"/>
              <a:gd name="connsiteX70" fmla="*/ 1162194 w 5293529"/>
              <a:gd name="connsiteY70" fmla="*/ 3757972 h 3773692"/>
              <a:gd name="connsiteX71" fmla="*/ 1145742 w 5293529"/>
              <a:gd name="connsiteY71" fmla="*/ 3742497 h 3773692"/>
              <a:gd name="connsiteX72" fmla="*/ 962645 w 5293529"/>
              <a:gd name="connsiteY72" fmla="*/ 3259260 h 3773692"/>
              <a:gd name="connsiteX73" fmla="*/ 958735 w 5293529"/>
              <a:gd name="connsiteY73" fmla="*/ 3244762 h 3773692"/>
              <a:gd name="connsiteX74" fmla="*/ 972337 w 5293529"/>
              <a:gd name="connsiteY74" fmla="*/ 3231242 h 3773692"/>
              <a:gd name="connsiteX75" fmla="*/ 4388794 w 5293529"/>
              <a:gd name="connsiteY75" fmla="*/ 3222446 h 3773692"/>
              <a:gd name="connsiteX76" fmla="*/ 4525465 w 5293529"/>
              <a:gd name="connsiteY76" fmla="*/ 3283451 h 3773692"/>
              <a:gd name="connsiteX77" fmla="*/ 4487673 w 5293529"/>
              <a:gd name="connsiteY77" fmla="*/ 3319289 h 3773692"/>
              <a:gd name="connsiteX78" fmla="*/ 4383011 w 5293529"/>
              <a:gd name="connsiteY78" fmla="*/ 3280519 h 3773692"/>
              <a:gd name="connsiteX79" fmla="*/ 4295779 w 5293529"/>
              <a:gd name="connsiteY79" fmla="*/ 3358058 h 3773692"/>
              <a:gd name="connsiteX80" fmla="*/ 4544850 w 5293529"/>
              <a:gd name="connsiteY80" fmla="*/ 3615763 h 3773692"/>
              <a:gd name="connsiteX81" fmla="*/ 4358739 w 5293529"/>
              <a:gd name="connsiteY81" fmla="*/ 3772715 h 3773692"/>
              <a:gd name="connsiteX82" fmla="*/ 4195923 w 5293529"/>
              <a:gd name="connsiteY82" fmla="*/ 3695175 h 3773692"/>
              <a:gd name="connsiteX83" fmla="*/ 4233715 w 5293529"/>
              <a:gd name="connsiteY83" fmla="*/ 3661293 h 3773692"/>
              <a:gd name="connsiteX84" fmla="*/ 4360694 w 5293529"/>
              <a:gd name="connsiteY84" fmla="*/ 3714560 h 3773692"/>
              <a:gd name="connsiteX85" fmla="*/ 4464379 w 5293529"/>
              <a:gd name="connsiteY85" fmla="*/ 3625455 h 3773692"/>
              <a:gd name="connsiteX86" fmla="*/ 4351979 w 5293529"/>
              <a:gd name="connsiteY86" fmla="*/ 3523726 h 3773692"/>
              <a:gd name="connsiteX87" fmla="*/ 4215308 w 5293529"/>
              <a:gd name="connsiteY87" fmla="*/ 3366774 h 3773692"/>
              <a:gd name="connsiteX88" fmla="*/ 4388794 w 5293529"/>
              <a:gd name="connsiteY88" fmla="*/ 3222446 h 3773692"/>
              <a:gd name="connsiteX89" fmla="*/ 3332238 w 5293529"/>
              <a:gd name="connsiteY89" fmla="*/ 3219514 h 3773692"/>
              <a:gd name="connsiteX90" fmla="*/ 3464837 w 5293529"/>
              <a:gd name="connsiteY90" fmla="*/ 3272619 h 3773692"/>
              <a:gd name="connsiteX91" fmla="*/ 3420447 w 5293529"/>
              <a:gd name="connsiteY91" fmla="*/ 3317008 h 3773692"/>
              <a:gd name="connsiteX92" fmla="*/ 3311061 w 5293529"/>
              <a:gd name="connsiteY92" fmla="*/ 3269687 h 3773692"/>
              <a:gd name="connsiteX93" fmla="*/ 3259748 w 5293529"/>
              <a:gd name="connsiteY93" fmla="*/ 3315053 h 3773692"/>
              <a:gd name="connsiteX94" fmla="*/ 3259748 w 5293529"/>
              <a:gd name="connsiteY94" fmla="*/ 3738751 h 3773692"/>
              <a:gd name="connsiteX95" fmla="*/ 3241341 w 5293529"/>
              <a:gd name="connsiteY95" fmla="*/ 3755122 h 3773692"/>
              <a:gd name="connsiteX96" fmla="*/ 3190028 w 5293529"/>
              <a:gd name="connsiteY96" fmla="*/ 3755122 h 3773692"/>
              <a:gd name="connsiteX97" fmla="*/ 3169666 w 5293529"/>
              <a:gd name="connsiteY97" fmla="*/ 3738751 h 3773692"/>
              <a:gd name="connsiteX98" fmla="*/ 3169666 w 5293529"/>
              <a:gd name="connsiteY98" fmla="*/ 3276447 h 3773692"/>
              <a:gd name="connsiteX99" fmla="*/ 3217069 w 5293529"/>
              <a:gd name="connsiteY99" fmla="*/ 3234989 h 3773692"/>
              <a:gd name="connsiteX100" fmla="*/ 3332238 w 5293529"/>
              <a:gd name="connsiteY100" fmla="*/ 3219514 h 3773692"/>
              <a:gd name="connsiteX101" fmla="*/ 2874495 w 5293529"/>
              <a:gd name="connsiteY101" fmla="*/ 3219514 h 3773692"/>
              <a:gd name="connsiteX102" fmla="*/ 3005709 w 5293529"/>
              <a:gd name="connsiteY102" fmla="*/ 3257306 h 3773692"/>
              <a:gd name="connsiteX103" fmla="*/ 3103204 w 5293529"/>
              <a:gd name="connsiteY103" fmla="*/ 3497581 h 3773692"/>
              <a:gd name="connsiteX104" fmla="*/ 3005709 w 5293529"/>
              <a:gd name="connsiteY104" fmla="*/ 3736878 h 3773692"/>
              <a:gd name="connsiteX105" fmla="*/ 2874495 w 5293529"/>
              <a:gd name="connsiteY105" fmla="*/ 3773692 h 3773692"/>
              <a:gd name="connsiteX106" fmla="*/ 2743281 w 5293529"/>
              <a:gd name="connsiteY106" fmla="*/ 3736878 h 3773692"/>
              <a:gd name="connsiteX107" fmla="*/ 2646764 w 5293529"/>
              <a:gd name="connsiteY107" fmla="*/ 3497581 h 3773692"/>
              <a:gd name="connsiteX108" fmla="*/ 2743281 w 5293529"/>
              <a:gd name="connsiteY108" fmla="*/ 3257306 h 3773692"/>
              <a:gd name="connsiteX109" fmla="*/ 2874495 w 5293529"/>
              <a:gd name="connsiteY109" fmla="*/ 3219514 h 3773692"/>
              <a:gd name="connsiteX110" fmla="*/ 2364299 w 5293529"/>
              <a:gd name="connsiteY110" fmla="*/ 3219514 h 3773692"/>
              <a:gd name="connsiteX111" fmla="*/ 2567596 w 5293529"/>
              <a:gd name="connsiteY111" fmla="*/ 3387054 h 3773692"/>
              <a:gd name="connsiteX112" fmla="*/ 2567596 w 5293529"/>
              <a:gd name="connsiteY112" fmla="*/ 3737692 h 3773692"/>
              <a:gd name="connsiteX113" fmla="*/ 2557985 w 5293529"/>
              <a:gd name="connsiteY113" fmla="*/ 3757973 h 3773692"/>
              <a:gd name="connsiteX114" fmla="*/ 2502111 w 5293529"/>
              <a:gd name="connsiteY114" fmla="*/ 3757973 h 3773692"/>
              <a:gd name="connsiteX115" fmla="*/ 2478979 w 5293529"/>
              <a:gd name="connsiteY115" fmla="*/ 3737611 h 3773692"/>
              <a:gd name="connsiteX116" fmla="*/ 2478979 w 5293529"/>
              <a:gd name="connsiteY116" fmla="*/ 3398620 h 3773692"/>
              <a:gd name="connsiteX117" fmla="*/ 2361448 w 5293529"/>
              <a:gd name="connsiteY117" fmla="*/ 3274655 h 3773692"/>
              <a:gd name="connsiteX118" fmla="*/ 2252551 w 5293529"/>
              <a:gd name="connsiteY118" fmla="*/ 3320185 h 3773692"/>
              <a:gd name="connsiteX119" fmla="*/ 2252551 w 5293529"/>
              <a:gd name="connsiteY119" fmla="*/ 3737611 h 3773692"/>
              <a:gd name="connsiteX120" fmla="*/ 2231375 w 5293529"/>
              <a:gd name="connsiteY120" fmla="*/ 3757973 h 3773692"/>
              <a:gd name="connsiteX121" fmla="*/ 2181283 w 5293529"/>
              <a:gd name="connsiteY121" fmla="*/ 3757973 h 3773692"/>
              <a:gd name="connsiteX122" fmla="*/ 2161980 w 5293529"/>
              <a:gd name="connsiteY122" fmla="*/ 3739565 h 3773692"/>
              <a:gd name="connsiteX123" fmla="*/ 2161980 w 5293529"/>
              <a:gd name="connsiteY123" fmla="*/ 3286302 h 3773692"/>
              <a:gd name="connsiteX124" fmla="*/ 2207266 w 5293529"/>
              <a:gd name="connsiteY124" fmla="*/ 3244682 h 3773692"/>
              <a:gd name="connsiteX125" fmla="*/ 2364299 w 5293529"/>
              <a:gd name="connsiteY125" fmla="*/ 3219514 h 3773692"/>
              <a:gd name="connsiteX126" fmla="*/ 1637124 w 5293529"/>
              <a:gd name="connsiteY126" fmla="*/ 3219514 h 3773692"/>
              <a:gd name="connsiteX127" fmla="*/ 1768908 w 5293529"/>
              <a:gd name="connsiteY127" fmla="*/ 3257306 h 3773692"/>
              <a:gd name="connsiteX128" fmla="*/ 1866810 w 5293529"/>
              <a:gd name="connsiteY128" fmla="*/ 3497581 h 3773692"/>
              <a:gd name="connsiteX129" fmla="*/ 1768908 w 5293529"/>
              <a:gd name="connsiteY129" fmla="*/ 3736878 h 3773692"/>
              <a:gd name="connsiteX130" fmla="*/ 1637124 w 5293529"/>
              <a:gd name="connsiteY130" fmla="*/ 3773692 h 3773692"/>
              <a:gd name="connsiteX131" fmla="*/ 1505339 w 5293529"/>
              <a:gd name="connsiteY131" fmla="*/ 3736878 h 3773692"/>
              <a:gd name="connsiteX132" fmla="*/ 1408415 w 5293529"/>
              <a:gd name="connsiteY132" fmla="*/ 3497581 h 3773692"/>
              <a:gd name="connsiteX133" fmla="*/ 1505339 w 5293529"/>
              <a:gd name="connsiteY133" fmla="*/ 3257306 h 3773692"/>
              <a:gd name="connsiteX134" fmla="*/ 1637124 w 5293529"/>
              <a:gd name="connsiteY134" fmla="*/ 3219514 h 3773692"/>
              <a:gd name="connsiteX135" fmla="*/ 714470 w 5293529"/>
              <a:gd name="connsiteY135" fmla="*/ 3219514 h 3773692"/>
              <a:gd name="connsiteX136" fmla="*/ 846254 w 5293529"/>
              <a:gd name="connsiteY136" fmla="*/ 3257306 h 3773692"/>
              <a:gd name="connsiteX137" fmla="*/ 943179 w 5293529"/>
              <a:gd name="connsiteY137" fmla="*/ 3497581 h 3773692"/>
              <a:gd name="connsiteX138" fmla="*/ 846254 w 5293529"/>
              <a:gd name="connsiteY138" fmla="*/ 3736878 h 3773692"/>
              <a:gd name="connsiteX139" fmla="*/ 714470 w 5293529"/>
              <a:gd name="connsiteY139" fmla="*/ 3773692 h 3773692"/>
              <a:gd name="connsiteX140" fmla="*/ 582686 w 5293529"/>
              <a:gd name="connsiteY140" fmla="*/ 3736878 h 3773692"/>
              <a:gd name="connsiteX141" fmla="*/ 484784 w 5293529"/>
              <a:gd name="connsiteY141" fmla="*/ 3497581 h 3773692"/>
              <a:gd name="connsiteX142" fmla="*/ 582686 w 5293529"/>
              <a:gd name="connsiteY142" fmla="*/ 3257306 h 3773692"/>
              <a:gd name="connsiteX143" fmla="*/ 714470 w 5293529"/>
              <a:gd name="connsiteY143" fmla="*/ 3219514 h 3773692"/>
              <a:gd name="connsiteX144" fmla="*/ 203297 w 5293529"/>
              <a:gd name="connsiteY144" fmla="*/ 3219514 h 3773692"/>
              <a:gd name="connsiteX145" fmla="*/ 407571 w 5293529"/>
              <a:gd name="connsiteY145" fmla="*/ 3387054 h 3773692"/>
              <a:gd name="connsiteX146" fmla="*/ 407571 w 5293529"/>
              <a:gd name="connsiteY146" fmla="*/ 3737692 h 3773692"/>
              <a:gd name="connsiteX147" fmla="*/ 396819 w 5293529"/>
              <a:gd name="connsiteY147" fmla="*/ 3757973 h 3773692"/>
              <a:gd name="connsiteX148" fmla="*/ 340701 w 5293529"/>
              <a:gd name="connsiteY148" fmla="*/ 3757973 h 3773692"/>
              <a:gd name="connsiteX149" fmla="*/ 317488 w 5293529"/>
              <a:gd name="connsiteY149" fmla="*/ 3737611 h 3773692"/>
              <a:gd name="connsiteX150" fmla="*/ 317488 w 5293529"/>
              <a:gd name="connsiteY150" fmla="*/ 3398620 h 3773692"/>
              <a:gd name="connsiteX151" fmla="*/ 199387 w 5293529"/>
              <a:gd name="connsiteY151" fmla="*/ 3274655 h 3773692"/>
              <a:gd name="connsiteX152" fmla="*/ 90001 w 5293529"/>
              <a:gd name="connsiteY152" fmla="*/ 3320185 h 3773692"/>
              <a:gd name="connsiteX153" fmla="*/ 90001 w 5293529"/>
              <a:gd name="connsiteY153" fmla="*/ 3737611 h 3773692"/>
              <a:gd name="connsiteX154" fmla="*/ 68743 w 5293529"/>
              <a:gd name="connsiteY154" fmla="*/ 3757973 h 3773692"/>
              <a:gd name="connsiteX155" fmla="*/ 18407 w 5293529"/>
              <a:gd name="connsiteY155" fmla="*/ 3757973 h 3773692"/>
              <a:gd name="connsiteX156" fmla="*/ 0 w 5293529"/>
              <a:gd name="connsiteY156" fmla="*/ 3739565 h 3773692"/>
              <a:gd name="connsiteX157" fmla="*/ 0 w 5293529"/>
              <a:gd name="connsiteY157" fmla="*/ 3286302 h 3773692"/>
              <a:gd name="connsiteX158" fmla="*/ 45530 w 5293529"/>
              <a:gd name="connsiteY158" fmla="*/ 3244682 h 3773692"/>
              <a:gd name="connsiteX159" fmla="*/ 203297 w 5293529"/>
              <a:gd name="connsiteY159" fmla="*/ 3219514 h 3773692"/>
              <a:gd name="connsiteX160" fmla="*/ 3838118 w 5293529"/>
              <a:gd name="connsiteY160" fmla="*/ 3043502 h 3773692"/>
              <a:gd name="connsiteX161" fmla="*/ 3888290 w 5293529"/>
              <a:gd name="connsiteY161" fmla="*/ 3043502 h 3773692"/>
              <a:gd name="connsiteX162" fmla="*/ 3907594 w 5293529"/>
              <a:gd name="connsiteY162" fmla="*/ 3063864 h 3773692"/>
              <a:gd name="connsiteX163" fmla="*/ 3907594 w 5293529"/>
              <a:gd name="connsiteY163" fmla="*/ 3702017 h 3773692"/>
              <a:gd name="connsiteX164" fmla="*/ 3728162 w 5293529"/>
              <a:gd name="connsiteY164" fmla="*/ 3773529 h 3773692"/>
              <a:gd name="connsiteX165" fmla="*/ 3472575 w 5293529"/>
              <a:gd name="connsiteY165" fmla="*/ 3497580 h 3773692"/>
              <a:gd name="connsiteX166" fmla="*/ 3709836 w 5293529"/>
              <a:gd name="connsiteY166" fmla="*/ 3222608 h 3773692"/>
              <a:gd name="connsiteX167" fmla="*/ 3819792 w 5293529"/>
              <a:gd name="connsiteY167" fmla="*/ 3250708 h 3773692"/>
              <a:gd name="connsiteX168" fmla="*/ 3819792 w 5293529"/>
              <a:gd name="connsiteY168" fmla="*/ 3066715 h 3773692"/>
              <a:gd name="connsiteX169" fmla="*/ 3838118 w 5293529"/>
              <a:gd name="connsiteY169" fmla="*/ 3043502 h 3773692"/>
              <a:gd name="connsiteX170" fmla="*/ 4634688 w 5293529"/>
              <a:gd name="connsiteY170" fmla="*/ 3041629 h 3773692"/>
              <a:gd name="connsiteX171" fmla="*/ 4688037 w 5293529"/>
              <a:gd name="connsiteY171" fmla="*/ 3041629 h 3773692"/>
              <a:gd name="connsiteX172" fmla="*/ 4706445 w 5293529"/>
              <a:gd name="connsiteY172" fmla="*/ 3056127 h 3773692"/>
              <a:gd name="connsiteX173" fmla="*/ 4706445 w 5293529"/>
              <a:gd name="connsiteY173" fmla="*/ 3742578 h 3773692"/>
              <a:gd name="connsiteX174" fmla="*/ 4688037 w 5293529"/>
              <a:gd name="connsiteY174" fmla="*/ 3757076 h 3773692"/>
              <a:gd name="connsiteX175" fmla="*/ 4634688 w 5293529"/>
              <a:gd name="connsiteY175" fmla="*/ 3757076 h 3773692"/>
              <a:gd name="connsiteX176" fmla="*/ 4618154 w 5293529"/>
              <a:gd name="connsiteY176" fmla="*/ 3741601 h 3773692"/>
              <a:gd name="connsiteX177" fmla="*/ 4618154 w 5293529"/>
              <a:gd name="connsiteY177" fmla="*/ 3058082 h 3773692"/>
              <a:gd name="connsiteX178" fmla="*/ 4634688 w 5293529"/>
              <a:gd name="connsiteY178" fmla="*/ 3041629 h 3773692"/>
              <a:gd name="connsiteX179" fmla="*/ 4074727 w 5293529"/>
              <a:gd name="connsiteY179" fmla="*/ 3035765 h 3773692"/>
              <a:gd name="connsiteX180" fmla="*/ 4127506 w 5293529"/>
              <a:gd name="connsiteY180" fmla="*/ 3086019 h 3773692"/>
              <a:gd name="connsiteX181" fmla="*/ 4072772 w 5293529"/>
              <a:gd name="connsiteY181" fmla="*/ 3142952 h 3773692"/>
              <a:gd name="connsiteX182" fmla="*/ 4019016 w 5293529"/>
              <a:gd name="connsiteY182" fmla="*/ 3089847 h 3773692"/>
              <a:gd name="connsiteX183" fmla="*/ 4074727 w 5293529"/>
              <a:gd name="connsiteY183" fmla="*/ 3035765 h 3773692"/>
              <a:gd name="connsiteX184" fmla="*/ 5090721 w 5293529"/>
              <a:gd name="connsiteY184" fmla="*/ 2888260 h 3773692"/>
              <a:gd name="connsiteX185" fmla="*/ 5090721 w 5293529"/>
              <a:gd name="connsiteY185" fmla="*/ 2940551 h 3773692"/>
              <a:gd name="connsiteX186" fmla="*/ 5125500 w 5293529"/>
              <a:gd name="connsiteY186" fmla="*/ 2940551 h 3773692"/>
              <a:gd name="connsiteX187" fmla="*/ 5166061 w 5293529"/>
              <a:gd name="connsiteY187" fmla="*/ 2914405 h 3773692"/>
              <a:gd name="connsiteX188" fmla="*/ 5122567 w 5293529"/>
              <a:gd name="connsiteY188" fmla="*/ 2888260 h 3773692"/>
              <a:gd name="connsiteX189" fmla="*/ 5090721 w 5293529"/>
              <a:gd name="connsiteY189" fmla="*/ 2888260 h 3773692"/>
              <a:gd name="connsiteX190" fmla="*/ 5063680 w 5293529"/>
              <a:gd name="connsiteY190" fmla="*/ 2863988 h 3773692"/>
              <a:gd name="connsiteX191" fmla="*/ 5125500 w 5293529"/>
              <a:gd name="connsiteY191" fmla="*/ 2863988 h 3773692"/>
              <a:gd name="connsiteX192" fmla="*/ 5182514 w 5293529"/>
              <a:gd name="connsiteY192" fmla="*/ 2877591 h 3773692"/>
              <a:gd name="connsiteX193" fmla="*/ 5198966 w 5293529"/>
              <a:gd name="connsiteY193" fmla="*/ 2911473 h 3773692"/>
              <a:gd name="connsiteX194" fmla="*/ 5172474 w 5293529"/>
              <a:gd name="connsiteY194" fmla="*/ 2955227 h 3773692"/>
              <a:gd name="connsiteX195" fmla="*/ 5151671 w 5293529"/>
              <a:gd name="connsiteY195" fmla="*/ 2960419 h 3773692"/>
              <a:gd name="connsiteX196" fmla="*/ 5149690 w 5293529"/>
              <a:gd name="connsiteY196" fmla="*/ 2958958 h 3773692"/>
              <a:gd name="connsiteX197" fmla="*/ 5149690 w 5293529"/>
              <a:gd name="connsiteY197" fmla="*/ 2960913 h 3773692"/>
              <a:gd name="connsiteX198" fmla="*/ 5151671 w 5293529"/>
              <a:gd name="connsiteY198" fmla="*/ 2960419 h 3773692"/>
              <a:gd name="connsiteX199" fmla="*/ 5165114 w 5293529"/>
              <a:gd name="connsiteY199" fmla="*/ 2970330 h 3773692"/>
              <a:gd name="connsiteX200" fmla="*/ 5189274 w 5293529"/>
              <a:gd name="connsiteY200" fmla="*/ 3003510 h 3773692"/>
              <a:gd name="connsiteX201" fmla="*/ 5210532 w 5293529"/>
              <a:gd name="connsiteY201" fmla="*/ 3038371 h 3773692"/>
              <a:gd name="connsiteX202" fmla="*/ 5176731 w 5293529"/>
              <a:gd name="connsiteY202" fmla="*/ 3038371 h 3773692"/>
              <a:gd name="connsiteX203" fmla="*/ 5161256 w 5293529"/>
              <a:gd name="connsiteY203" fmla="*/ 3011248 h 3773692"/>
              <a:gd name="connsiteX204" fmla="*/ 5109128 w 5293529"/>
              <a:gd name="connsiteY204" fmla="*/ 2964741 h 3773692"/>
              <a:gd name="connsiteX205" fmla="*/ 5092676 w 5293529"/>
              <a:gd name="connsiteY205" fmla="*/ 2964741 h 3773692"/>
              <a:gd name="connsiteX206" fmla="*/ 5092676 w 5293529"/>
              <a:gd name="connsiteY206" fmla="*/ 3039348 h 3773692"/>
              <a:gd name="connsiteX207" fmla="*/ 5063680 w 5293529"/>
              <a:gd name="connsiteY207" fmla="*/ 3039348 h 3773692"/>
              <a:gd name="connsiteX208" fmla="*/ 5132260 w 5293529"/>
              <a:gd name="connsiteY208" fmla="*/ 2815608 h 3773692"/>
              <a:gd name="connsiteX209" fmla="*/ 4998032 w 5293529"/>
              <a:gd name="connsiteY209" fmla="*/ 2950243 h 3773692"/>
              <a:gd name="connsiteX210" fmla="*/ 5132260 w 5293529"/>
              <a:gd name="connsiteY210" fmla="*/ 3086833 h 3773692"/>
              <a:gd name="connsiteX211" fmla="*/ 5267465 w 5293529"/>
              <a:gd name="connsiteY211" fmla="*/ 2950243 h 3773692"/>
              <a:gd name="connsiteX212" fmla="*/ 5132260 w 5293529"/>
              <a:gd name="connsiteY212" fmla="*/ 2815608 h 3773692"/>
              <a:gd name="connsiteX213" fmla="*/ 5132260 w 5293529"/>
              <a:gd name="connsiteY213" fmla="*/ 2787508 h 3773692"/>
              <a:gd name="connsiteX214" fmla="*/ 5293529 w 5293529"/>
              <a:gd name="connsiteY214" fmla="*/ 2950243 h 3773692"/>
              <a:gd name="connsiteX215" fmla="*/ 5132260 w 5293529"/>
              <a:gd name="connsiteY215" fmla="*/ 3112978 h 3773692"/>
              <a:gd name="connsiteX216" fmla="*/ 4970991 w 5293529"/>
              <a:gd name="connsiteY216" fmla="*/ 2950243 h 3773692"/>
              <a:gd name="connsiteX217" fmla="*/ 5132260 w 5293529"/>
              <a:gd name="connsiteY217" fmla="*/ 2787508 h 3773692"/>
              <a:gd name="connsiteX218" fmla="*/ 3521882 w 5293529"/>
              <a:gd name="connsiteY218" fmla="*/ 1731870 h 3773692"/>
              <a:gd name="connsiteX219" fmla="*/ 3513299 w 5293529"/>
              <a:gd name="connsiteY219" fmla="*/ 1740971 h 3773692"/>
              <a:gd name="connsiteX220" fmla="*/ 3483326 w 5293529"/>
              <a:gd name="connsiteY220" fmla="*/ 2098939 h 3773692"/>
              <a:gd name="connsiteX221" fmla="*/ 3531707 w 5293529"/>
              <a:gd name="connsiteY221" fmla="*/ 2354363 h 3773692"/>
              <a:gd name="connsiteX222" fmla="*/ 3561680 w 5293529"/>
              <a:gd name="connsiteY222" fmla="*/ 2360146 h 3773692"/>
              <a:gd name="connsiteX223" fmla="*/ 3535535 w 5293529"/>
              <a:gd name="connsiteY223" fmla="*/ 1738039 h 3773692"/>
              <a:gd name="connsiteX224" fmla="*/ 3521882 w 5293529"/>
              <a:gd name="connsiteY224" fmla="*/ 1731870 h 3773692"/>
              <a:gd name="connsiteX225" fmla="*/ 2399078 w 5293529"/>
              <a:gd name="connsiteY225" fmla="*/ 1361664 h 3773692"/>
              <a:gd name="connsiteX226" fmla="*/ 2416508 w 5293529"/>
              <a:gd name="connsiteY226" fmla="*/ 1600635 h 3773692"/>
              <a:gd name="connsiteX227" fmla="*/ 2465866 w 5293529"/>
              <a:gd name="connsiteY227" fmla="*/ 1656753 h 3773692"/>
              <a:gd name="connsiteX228" fmla="*/ 2834667 w 5293529"/>
              <a:gd name="connsiteY228" fmla="*/ 1622870 h 3773692"/>
              <a:gd name="connsiteX229" fmla="*/ 2847292 w 5293529"/>
              <a:gd name="connsiteY229" fmla="*/ 1377139 h 3773692"/>
              <a:gd name="connsiteX230" fmla="*/ 2399078 w 5293529"/>
              <a:gd name="connsiteY230" fmla="*/ 1361664 h 3773692"/>
              <a:gd name="connsiteX231" fmla="*/ 3181232 w 5293529"/>
              <a:gd name="connsiteY231" fmla="*/ 1337473 h 3773692"/>
              <a:gd name="connsiteX232" fmla="*/ 3073720 w 5293529"/>
              <a:gd name="connsiteY232" fmla="*/ 1351971 h 3773692"/>
              <a:gd name="connsiteX233" fmla="*/ 3136680 w 5293529"/>
              <a:gd name="connsiteY233" fmla="*/ 1554209 h 3773692"/>
              <a:gd name="connsiteX234" fmla="*/ 3214137 w 5293529"/>
              <a:gd name="connsiteY234" fmla="*/ 1498091 h 3773692"/>
              <a:gd name="connsiteX235" fmla="*/ 3181232 w 5293529"/>
              <a:gd name="connsiteY235" fmla="*/ 1337473 h 3773692"/>
              <a:gd name="connsiteX236" fmla="*/ 2027427 w 5293529"/>
              <a:gd name="connsiteY236" fmla="*/ 1281436 h 3773692"/>
              <a:gd name="connsiteX237" fmla="*/ 1976114 w 5293529"/>
              <a:gd name="connsiteY237" fmla="*/ 1551358 h 3773692"/>
              <a:gd name="connsiteX238" fmla="*/ 2039074 w 5293529"/>
              <a:gd name="connsiteY238" fmla="*/ 1600716 h 3773692"/>
              <a:gd name="connsiteX239" fmla="*/ 2170695 w 5293529"/>
              <a:gd name="connsiteY239" fmla="*/ 1320125 h 3773692"/>
              <a:gd name="connsiteX240" fmla="*/ 2027427 w 5293529"/>
              <a:gd name="connsiteY240" fmla="*/ 1281436 h 3773692"/>
              <a:gd name="connsiteX241" fmla="*/ 1861627 w 5293529"/>
              <a:gd name="connsiteY241" fmla="*/ 1228363 h 3773692"/>
              <a:gd name="connsiteX242" fmla="*/ 1826166 w 5293529"/>
              <a:gd name="connsiteY242" fmla="*/ 1251463 h 3773692"/>
              <a:gd name="connsiteX243" fmla="*/ 1629630 w 5293529"/>
              <a:gd name="connsiteY243" fmla="*/ 1719713 h 3773692"/>
              <a:gd name="connsiteX244" fmla="*/ 1853207 w 5293529"/>
              <a:gd name="connsiteY244" fmla="*/ 1989635 h 3773692"/>
              <a:gd name="connsiteX245" fmla="*/ 2138767 w 5293529"/>
              <a:gd name="connsiteY245" fmla="*/ 2194723 h 3773692"/>
              <a:gd name="connsiteX246" fmla="*/ 2163935 w 5293529"/>
              <a:gd name="connsiteY246" fmla="*/ 2187963 h 3773692"/>
              <a:gd name="connsiteX247" fmla="*/ 2751508 w 5293529"/>
              <a:gd name="connsiteY247" fmla="*/ 1870638 h 3773692"/>
              <a:gd name="connsiteX248" fmla="*/ 3321650 w 5293529"/>
              <a:gd name="connsiteY248" fmla="*/ 1997372 h 3773692"/>
              <a:gd name="connsiteX249" fmla="*/ 3418411 w 5293529"/>
              <a:gd name="connsiteY249" fmla="*/ 1597784 h 3773692"/>
              <a:gd name="connsiteX250" fmla="*/ 3245170 w 5293529"/>
              <a:gd name="connsiteY250" fmla="*/ 1329736 h 3773692"/>
              <a:gd name="connsiteX251" fmla="*/ 3215196 w 5293529"/>
              <a:gd name="connsiteY251" fmla="*/ 1586137 h 3773692"/>
              <a:gd name="connsiteX252" fmla="*/ 3068996 w 5293529"/>
              <a:gd name="connsiteY252" fmla="*/ 1560969 h 3773692"/>
              <a:gd name="connsiteX253" fmla="*/ 2999275 w 5293529"/>
              <a:gd name="connsiteY253" fmla="*/ 1361664 h 3773692"/>
              <a:gd name="connsiteX254" fmla="*/ 2916034 w 5293529"/>
              <a:gd name="connsiteY254" fmla="*/ 1371356 h 3773692"/>
              <a:gd name="connsiteX255" fmla="*/ 2891844 w 5293529"/>
              <a:gd name="connsiteY255" fmla="*/ 1675160 h 3773692"/>
              <a:gd name="connsiteX256" fmla="*/ 2458210 w 5293529"/>
              <a:gd name="connsiteY256" fmla="*/ 1729324 h 3773692"/>
              <a:gd name="connsiteX257" fmla="*/ 2359494 w 5293529"/>
              <a:gd name="connsiteY257" fmla="*/ 1667423 h 3773692"/>
              <a:gd name="connsiteX258" fmla="*/ 2331394 w 5293529"/>
              <a:gd name="connsiteY258" fmla="*/ 1352053 h 3773692"/>
              <a:gd name="connsiteX259" fmla="*/ 2240416 w 5293529"/>
              <a:gd name="connsiteY259" fmla="*/ 1335600 h 3773692"/>
              <a:gd name="connsiteX260" fmla="*/ 2047789 w 5293529"/>
              <a:gd name="connsiteY260" fmla="*/ 1672310 h 3773692"/>
              <a:gd name="connsiteX261" fmla="*/ 1890022 w 5293529"/>
              <a:gd name="connsiteY261" fmla="*/ 1590046 h 3773692"/>
              <a:gd name="connsiteX262" fmla="*/ 1952982 w 5293529"/>
              <a:gd name="connsiteY262" fmla="*/ 1258223 h 3773692"/>
              <a:gd name="connsiteX263" fmla="*/ 1861627 w 5293529"/>
              <a:gd name="connsiteY263" fmla="*/ 1228363 h 3773692"/>
              <a:gd name="connsiteX264" fmla="*/ 1399134 w 5293529"/>
              <a:gd name="connsiteY264" fmla="*/ 1118588 h 3773692"/>
              <a:gd name="connsiteX265" fmla="*/ 1426089 w 5293529"/>
              <a:gd name="connsiteY265" fmla="*/ 1125706 h 3773692"/>
              <a:gd name="connsiteX266" fmla="*/ 1309210 w 5293529"/>
              <a:gd name="connsiteY266" fmla="*/ 1182557 h 3773692"/>
              <a:gd name="connsiteX267" fmla="*/ 1399134 w 5293529"/>
              <a:gd name="connsiteY267" fmla="*/ 1118588 h 3773692"/>
              <a:gd name="connsiteX268" fmla="*/ 1371072 w 5293529"/>
              <a:gd name="connsiteY268" fmla="*/ 997014 h 3773692"/>
              <a:gd name="connsiteX269" fmla="*/ 1337228 w 5293529"/>
              <a:gd name="connsiteY269" fmla="*/ 1015343 h 3773692"/>
              <a:gd name="connsiteX270" fmla="*/ 1249101 w 5293529"/>
              <a:gd name="connsiteY270" fmla="*/ 1124647 h 3773692"/>
              <a:gd name="connsiteX271" fmla="*/ 1228738 w 5293529"/>
              <a:gd name="connsiteY271" fmla="*/ 1209761 h 3773692"/>
              <a:gd name="connsiteX272" fmla="*/ 1172620 w 5293529"/>
              <a:gd name="connsiteY272" fmla="*/ 1285264 h 3773692"/>
              <a:gd name="connsiteX273" fmla="*/ 1192005 w 5293529"/>
              <a:gd name="connsiteY273" fmla="*/ 1377139 h 3773692"/>
              <a:gd name="connsiteX274" fmla="*/ 1395301 w 5293529"/>
              <a:gd name="connsiteY274" fmla="*/ 1435212 h 3773692"/>
              <a:gd name="connsiteX275" fmla="*/ 1537593 w 5293529"/>
              <a:gd name="connsiteY275" fmla="*/ 1660663 h 3773692"/>
              <a:gd name="connsiteX276" fmla="*/ 1724437 w 5293529"/>
              <a:gd name="connsiteY276" fmla="*/ 1252359 h 3773692"/>
              <a:gd name="connsiteX277" fmla="*/ 1559910 w 5293529"/>
              <a:gd name="connsiteY277" fmla="*/ 1078221 h 3773692"/>
              <a:gd name="connsiteX278" fmla="*/ 1371072 w 5293529"/>
              <a:gd name="connsiteY278" fmla="*/ 997014 h 3773692"/>
              <a:gd name="connsiteX279" fmla="*/ 1141364 w 5293529"/>
              <a:gd name="connsiteY279" fmla="*/ 538266 h 3773692"/>
              <a:gd name="connsiteX280" fmla="*/ 1168711 w 5293529"/>
              <a:gd name="connsiteY280" fmla="*/ 573319 h 3773692"/>
              <a:gd name="connsiteX281" fmla="*/ 1458180 w 5293529"/>
              <a:gd name="connsiteY281" fmla="*/ 879976 h 3773692"/>
              <a:gd name="connsiteX282" fmla="*/ 1951842 w 5293529"/>
              <a:gd name="connsiteY282" fmla="*/ 790951 h 3773692"/>
              <a:gd name="connsiteX283" fmla="*/ 1971227 w 5293529"/>
              <a:gd name="connsiteY283" fmla="*/ 843160 h 3773692"/>
              <a:gd name="connsiteX284" fmla="*/ 1727287 w 5293529"/>
              <a:gd name="connsiteY284" fmla="*/ 1038556 h 3773692"/>
              <a:gd name="connsiteX285" fmla="*/ 1730219 w 5293529"/>
              <a:gd name="connsiteY285" fmla="*/ 1081153 h 3773692"/>
              <a:gd name="connsiteX286" fmla="*/ 2670140 w 5293529"/>
              <a:gd name="connsiteY286" fmla="*/ 1296912 h 3773692"/>
              <a:gd name="connsiteX287" fmla="*/ 3249975 w 5293529"/>
              <a:gd name="connsiteY287" fmla="*/ 1252441 h 3773692"/>
              <a:gd name="connsiteX288" fmla="*/ 3637183 w 5293529"/>
              <a:gd name="connsiteY288" fmla="*/ 1503955 h 3773692"/>
              <a:gd name="connsiteX289" fmla="*/ 3670170 w 5293529"/>
              <a:gd name="connsiteY289" fmla="*/ 2709725 h 3773692"/>
              <a:gd name="connsiteX290" fmla="*/ 3632378 w 5293529"/>
              <a:gd name="connsiteY290" fmla="*/ 2765843 h 3773692"/>
              <a:gd name="connsiteX291" fmla="*/ 3486177 w 5293529"/>
              <a:gd name="connsiteY291" fmla="*/ 2803554 h 3773692"/>
              <a:gd name="connsiteX292" fmla="*/ 3447489 w 5293529"/>
              <a:gd name="connsiteY292" fmla="*/ 2939981 h 3773692"/>
              <a:gd name="connsiteX293" fmla="*/ 3397153 w 5293529"/>
              <a:gd name="connsiteY293" fmla="*/ 3001882 h 3773692"/>
              <a:gd name="connsiteX294" fmla="*/ 3235477 w 5293529"/>
              <a:gd name="connsiteY294" fmla="*/ 3001882 h 3773692"/>
              <a:gd name="connsiteX295" fmla="*/ 3218047 w 5293529"/>
              <a:gd name="connsiteY295" fmla="*/ 2932243 h 3773692"/>
              <a:gd name="connsiteX296" fmla="*/ 3288745 w 5293529"/>
              <a:gd name="connsiteY296" fmla="*/ 2107980 h 3773692"/>
              <a:gd name="connsiteX297" fmla="*/ 3214219 w 5293529"/>
              <a:gd name="connsiteY297" fmla="*/ 2335304 h 3773692"/>
              <a:gd name="connsiteX298" fmla="*/ 2825056 w 5293529"/>
              <a:gd name="connsiteY298" fmla="*/ 2961239 h 3773692"/>
              <a:gd name="connsiteX299" fmla="*/ 2759245 w 5293529"/>
              <a:gd name="connsiteY299" fmla="*/ 3002860 h 3773692"/>
              <a:gd name="connsiteX300" fmla="*/ 2580139 w 5293529"/>
              <a:gd name="connsiteY300" fmla="*/ 3002860 h 3773692"/>
              <a:gd name="connsiteX301" fmla="*/ 2562709 w 5293529"/>
              <a:gd name="connsiteY301" fmla="*/ 2931266 h 3773692"/>
              <a:gd name="connsiteX302" fmla="*/ 2993492 w 5293529"/>
              <a:gd name="connsiteY302" fmla="*/ 2268516 h 3773692"/>
              <a:gd name="connsiteX303" fmla="*/ 2736032 w 5293529"/>
              <a:gd name="connsiteY303" fmla="*/ 2066278 h 3773692"/>
              <a:gd name="connsiteX304" fmla="*/ 2273321 w 5293529"/>
              <a:gd name="connsiteY304" fmla="*/ 2247176 h 3773692"/>
              <a:gd name="connsiteX305" fmla="*/ 2454300 w 5293529"/>
              <a:gd name="connsiteY305" fmla="*/ 2955375 h 3773692"/>
              <a:gd name="connsiteX306" fmla="*/ 2399160 w 5293529"/>
              <a:gd name="connsiteY306" fmla="*/ 3004733 h 3773692"/>
              <a:gd name="connsiteX307" fmla="*/ 2229746 w 5293529"/>
              <a:gd name="connsiteY307" fmla="*/ 3004733 h 3773692"/>
              <a:gd name="connsiteX308" fmla="*/ 2201646 w 5293529"/>
              <a:gd name="connsiteY308" fmla="*/ 2931184 h 3773692"/>
              <a:gd name="connsiteX309" fmla="*/ 1934493 w 5293529"/>
              <a:gd name="connsiteY309" fmla="*/ 2164913 h 3773692"/>
              <a:gd name="connsiteX310" fmla="*/ 1671169 w 5293529"/>
              <a:gd name="connsiteY310" fmla="*/ 2946660 h 3773692"/>
              <a:gd name="connsiteX311" fmla="*/ 1628571 w 5293529"/>
              <a:gd name="connsiteY311" fmla="*/ 3002778 h 3773692"/>
              <a:gd name="connsiteX312" fmla="*/ 1431058 w 5293529"/>
              <a:gd name="connsiteY312" fmla="*/ 3002778 h 3773692"/>
              <a:gd name="connsiteX313" fmla="*/ 1417537 w 5293529"/>
              <a:gd name="connsiteY313" fmla="*/ 2924424 h 3773692"/>
              <a:gd name="connsiteX314" fmla="*/ 1674997 w 5293529"/>
              <a:gd name="connsiteY314" fmla="*/ 2150415 h 3773692"/>
              <a:gd name="connsiteX315" fmla="*/ 1626616 w 5293529"/>
              <a:gd name="connsiteY315" fmla="*/ 1954042 h 3773692"/>
              <a:gd name="connsiteX316" fmla="*/ 1402062 w 5293529"/>
              <a:gd name="connsiteY316" fmla="*/ 1567078 h 3773692"/>
              <a:gd name="connsiteX317" fmla="*/ 1276223 w 5293529"/>
              <a:gd name="connsiteY317" fmla="*/ 1468362 h 3773692"/>
              <a:gd name="connsiteX318" fmla="*/ 1169769 w 5293529"/>
              <a:gd name="connsiteY318" fmla="*/ 1456714 h 3773692"/>
              <a:gd name="connsiteX319" fmla="*/ 1090357 w 5293529"/>
              <a:gd name="connsiteY319" fmla="*/ 1374451 h 3773692"/>
              <a:gd name="connsiteX320" fmla="*/ 1076836 w 5293529"/>
              <a:gd name="connsiteY320" fmla="*/ 1276712 h 3773692"/>
              <a:gd name="connsiteX321" fmla="*/ 1165860 w 5293529"/>
              <a:gd name="connsiteY321" fmla="*/ 1156738 h 3773692"/>
              <a:gd name="connsiteX322" fmla="*/ 1174575 w 5293529"/>
              <a:gd name="connsiteY322" fmla="*/ 1098665 h 3773692"/>
              <a:gd name="connsiteX323" fmla="*/ 1255861 w 5293529"/>
              <a:gd name="connsiteY323" fmla="*/ 982600 h 3773692"/>
              <a:gd name="connsiteX324" fmla="*/ 1231671 w 5293529"/>
              <a:gd name="connsiteY324" fmla="*/ 905224 h 3773692"/>
              <a:gd name="connsiteX325" fmla="*/ 1127090 w 5293529"/>
              <a:gd name="connsiteY325" fmla="*/ 591727 h 3773692"/>
              <a:gd name="connsiteX326" fmla="*/ 1141364 w 5293529"/>
              <a:gd name="connsiteY326" fmla="*/ 538266 h 3773692"/>
              <a:gd name="connsiteX327" fmla="*/ 1650644 w 5293529"/>
              <a:gd name="connsiteY327" fmla="*/ 93748 h 3773692"/>
              <a:gd name="connsiteX328" fmla="*/ 1385447 w 5293529"/>
              <a:gd name="connsiteY328" fmla="*/ 357642 h 3773692"/>
              <a:gd name="connsiteX329" fmla="*/ 1650644 w 5293529"/>
              <a:gd name="connsiteY329" fmla="*/ 621537 h 3773692"/>
              <a:gd name="connsiteX330" fmla="*/ 1913887 w 5293529"/>
              <a:gd name="connsiteY330" fmla="*/ 357642 h 3773692"/>
              <a:gd name="connsiteX331" fmla="*/ 1650644 w 5293529"/>
              <a:gd name="connsiteY331" fmla="*/ 93748 h 3773692"/>
              <a:gd name="connsiteX332" fmla="*/ 1639079 w 5293529"/>
              <a:gd name="connsiteY332" fmla="*/ 0 h 3773692"/>
              <a:gd name="connsiteX333" fmla="*/ 2036875 w 5293529"/>
              <a:gd name="connsiteY333" fmla="*/ 399263 h 3773692"/>
              <a:gd name="connsiteX334" fmla="*/ 1639079 w 5293529"/>
              <a:gd name="connsiteY334" fmla="*/ 798525 h 3773692"/>
              <a:gd name="connsiteX335" fmla="*/ 1241282 w 5293529"/>
              <a:gd name="connsiteY335" fmla="*/ 399263 h 3773692"/>
              <a:gd name="connsiteX336" fmla="*/ 1639079 w 5293529"/>
              <a:gd name="connsiteY336" fmla="*/ 0 h 3773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</a:cxnLst>
            <a:rect l="l" t="t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chemeClr val="bg1"/>
          </a:solidFill>
          <a:ln w="813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1351">
              <a:latin typeface="Apis For Office" panose="020B0504010101010104" pitchFamily="34" charset="0"/>
            </a:endParaRPr>
          </a:p>
        </p:txBody>
      </p:sp>
      <p:sp>
        <p:nvSpPr>
          <p:cNvPr id="6" name="Tagline" descr="{&quot;templafy&quot;:{&quot;id&quot;:&quot;8b7bd7f1-2abb-4aba-8fa3-6bed6534d10c&quot;}}" title="Form.PLogoChoice.PLogoInsertionWhite">
            <a:extLst>
              <a:ext uri="{FF2B5EF4-FFF2-40B4-BE49-F238E27FC236}">
                <a16:creationId xmlns:a16="http://schemas.microsoft.com/office/drawing/2014/main" id="{D9E9F619-DDA7-4396-BEF5-E42E21A0A600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91426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1DA9E50-1993-6FFC-2D5A-56DEE3529B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F9C54FB3-2D31-F85C-DF2C-489CCACB44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33EC3AD9-30CE-5B81-46C6-C68D76538A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E21C0212-3C06-9C6D-ADB0-AB5DC834D3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0148E-80EA-4707-BC54-0BF4CCE74621}" type="datetimeFigureOut">
              <a:rPr lang="it-IT" smtClean="0"/>
              <a:t>29/01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616B9F08-C220-61DF-5155-20DFEE524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FC49CBAD-5374-3DB8-0111-C1E06D4380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7607939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.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648000"/>
            <a:ext cx="8652001" cy="5562000"/>
          </a:xfrm>
        </p:spPr>
        <p:txBody>
          <a:bodyPr bIns="144000" anchor="ctr"/>
          <a:lstStyle>
            <a:lvl1pPr algn="l">
              <a:lnSpc>
                <a:spcPct val="10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A5C54D-D165-4BAA-A95A-6DA40BFC13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5644800"/>
            <a:ext cx="1920000" cy="154800"/>
          </a:xfrm>
        </p:spPr>
        <p:txBody>
          <a:bodyPr/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nam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DBC0D27-79CE-4CB8-9819-041246B921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8000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9F363458-92CB-4BC5-8F81-D4DBE70473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1999" y="5900400"/>
            <a:ext cx="1920000" cy="309600"/>
          </a:xfrm>
        </p:spPr>
        <p:txBody>
          <a:bodyPr/>
          <a:lstStyle>
            <a:lvl1pPr marL="0" indent="0">
              <a:buNone/>
              <a:defRPr sz="1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plac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A17B31-6DBC-46E7-9036-7C3041DA54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892000" y="5652000"/>
            <a:ext cx="1920001" cy="154800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fld id="{CA27F7B4-F98D-4CAF-BB7C-3984BBCDBD89}" type="datetime3">
              <a:rPr lang="en-US" smtClean="0"/>
              <a:t>29 January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83084E-2481-4E6B-8DE9-0CFD902B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4000" y="324000"/>
            <a:ext cx="4488000" cy="324000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7CC7667B-71FE-473D-AE19-E08F2682BD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210000"/>
            <a:ext cx="324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3" name="Tagline" descr="{&quot;templafy&quot;:{&quot;id&quot;:&quot;237cc8ce-a8bb-493a-8167-0dbb0fdc5d51&quot;}}" title="Form.PLogoChoice.PLogoInsertion">
            <a:extLst>
              <a:ext uri="{FF2B5EF4-FFF2-40B4-BE49-F238E27FC236}">
                <a16:creationId xmlns:a16="http://schemas.microsoft.com/office/drawing/2014/main" id="{8AE78219-5CBB-4760-B800-636AFE0A99A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414867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 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F3B750-FD0B-4117-8CF8-02751916C1F8}"/>
              </a:ext>
            </a:extLst>
          </p:cNvPr>
          <p:cNvSpPr/>
          <p:nvPr userDrawn="1"/>
        </p:nvSpPr>
        <p:spPr bwMode="inv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err="1">
              <a:latin typeface="Apis For Office" panose="020B0504010101010104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48000"/>
            <a:ext cx="6408000" cy="5562000"/>
          </a:xfrm>
        </p:spPr>
        <p:txBody>
          <a:bodyPr anchor="ctr"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2pPr>
            <a:lvl3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01 Agenda poi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D9C29ED-948B-4EC0-92E7-AB6CC89EC26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871100-7668-411B-B68C-7B09658A607B}" type="datetime3">
              <a:rPr lang="en-US" smtClean="0"/>
              <a:t>29 January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0F892E9-736B-4CA1-8156-28995DBCB8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F28250-A1CE-45F5-A4EC-6F080DBDAF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5A42DB6-37C7-4655-8383-4D4C615303B7}"/>
              </a:ext>
            </a:extLst>
          </p:cNvPr>
          <p:cNvSpPr txBox="1"/>
          <p:nvPr userDrawn="1"/>
        </p:nvSpPr>
        <p:spPr>
          <a:xfrm>
            <a:off x="7381875" y="2819982"/>
            <a:ext cx="4162127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7200">
                <a:solidFill>
                  <a:schemeClr val="bg1"/>
                </a:solidFill>
                <a:latin typeface="Apis For Office" panose="020B0504010101010104" pitchFamily="34" charset="0"/>
              </a:rPr>
              <a:t>Agenda</a:t>
            </a:r>
          </a:p>
        </p:txBody>
      </p:sp>
      <p:sp>
        <p:nvSpPr>
          <p:cNvPr id="5" name="Tagline" descr="{&quot;templafy&quot;:{&quot;id&quot;:&quot;a6a0294e-5049-4413-9e6f-1ecdf818f736&quot;}}" title="Form.PLogoChoice.PLogoInsertionWhite">
            <a:extLst>
              <a:ext uri="{FF2B5EF4-FFF2-40B4-BE49-F238E27FC236}">
                <a16:creationId xmlns:a16="http://schemas.microsoft.com/office/drawing/2014/main" id="{3EF1636C-932C-4747-B37D-D0B1E2D9AB18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627901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DAB545-D447-4D2B-8720-76E9A0ED3117}" type="datetime3">
              <a:rPr lang="en-US" smtClean="0"/>
              <a:t>29 January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1067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73236242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975600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DAB545-D447-4D2B-8720-76E9A0ED3117}" type="datetime3">
              <a:rPr lang="en-US" smtClean="0"/>
              <a:t>29 January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1067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FA96055-F41A-411B-AC3E-55CE92C9BB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1630133"/>
            <a:ext cx="10896001" cy="324000"/>
          </a:xfrm>
        </p:spPr>
        <p:txBody>
          <a:bodyPr/>
          <a:lstStyle>
            <a:lvl1pPr marL="0" indent="0">
              <a:buNone/>
              <a:defRPr sz="14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61511870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 Content Tru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972000"/>
            <a:ext cx="10896000" cy="972000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1067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6E89B-F1B0-48A4-8827-107446FBFBCE}" type="datetime3">
              <a:rPr lang="en-US" smtClean="0"/>
              <a:t>29 January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A7DD42-50DC-4727-B3D6-62052EA9E5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648000"/>
            <a:ext cx="10896001" cy="324000"/>
          </a:xfrm>
        </p:spPr>
        <p:txBody>
          <a:bodyPr/>
          <a:lstStyle>
            <a:lvl1pPr marL="0" indent="0">
              <a:buNone/>
              <a:defRPr sz="1400" b="1" cap="all" baseline="0"/>
            </a:lvl1pPr>
          </a:lstStyle>
          <a:p>
            <a:pPr lvl="0"/>
            <a:r>
              <a:rPr lang="en-GB"/>
              <a:t>Click to add trumpet</a:t>
            </a:r>
          </a:p>
        </p:txBody>
      </p:sp>
    </p:spTree>
    <p:extLst>
      <p:ext uri="{BB962C8B-B14F-4D97-AF65-F5344CB8AC3E}">
        <p14:creationId xmlns:p14="http://schemas.microsoft.com/office/powerpoint/2010/main" val="413572116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83BF171-11B0-4BBC-A5E0-54E06540B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FBA9E-C030-444A-9468-E2FEE5B115AE}" type="datetime3">
              <a:rPr lang="en-US" smtClean="0"/>
              <a:t>29 January 2025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D4BEBA1-3B3D-4B4B-9C17-2B3431510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A63ACE-2F21-4C6E-8E2B-F2CF7446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135AE9C-0192-4702-9483-2D7F666258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vert="horz" lIns="0" tIns="0" rIns="0" bIns="0" rtlCol="0" anchor="b">
            <a:noAutofit/>
          </a:bodyPr>
          <a:lstStyle>
            <a:lvl1pPr marL="0" indent="0">
              <a:buNone/>
              <a:defRPr lang="en-GB" sz="1067" i="1" dirty="0"/>
            </a:lvl1pPr>
          </a:lstStyle>
          <a:p>
            <a:pPr marL="269993" lvl="0" indent="-269993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92903107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18F144-C552-47DE-B37E-F764CB8D0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121A7-F4E2-460A-A8FB-942CCEE5185E}" type="datetime3">
              <a:rPr lang="en-US" smtClean="0"/>
              <a:t>29 January 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59BE18-6820-417E-88D1-C143F8462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EC8840-13BA-406D-AE15-E96701F6D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613199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>
            <a:extLst>
              <a:ext uri="{FF2B5EF4-FFF2-40B4-BE49-F238E27FC236}">
                <a16:creationId xmlns:a16="http://schemas.microsoft.com/office/drawing/2014/main" id="{A41594FF-878C-4539-A3DF-E2C07894A9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5015" cy="129286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35FBB5C-0CC0-45DE-A9E2-8C9E2CA0341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57915" y="1944000"/>
            <a:ext cx="5286000" cy="42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5150ED-B90C-4AB1-BCB0-E73E86A8D87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7EE2340-579E-4220-A93B-3AFD39A8D022}" type="datetime3">
              <a:rPr lang="en-US" smtClean="0"/>
              <a:t>29 January 2025</a:t>
            </a:fld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6E0E6C7-4501-41F5-82DA-93E27DDCEB4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834695D-31D7-40E5-BF1E-A049DDB0738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C244FE-0B79-4E3B-B276-2F6B1D5612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1067" i="1" dirty="0"/>
            </a:lvl1pPr>
          </a:lstStyle>
          <a:p>
            <a:pPr marL="0" lvl="0" indent="0">
              <a:buNone/>
            </a:pPr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08337764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647700"/>
            <a:ext cx="4164000" cy="1292867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0565"/>
            <a:ext cx="4164000" cy="42694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6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8DC46D-D10D-4B61-A892-8C0001048907}" type="datetime3">
              <a:rPr lang="en-US" smtClean="0"/>
              <a:t>29 January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CE4632D-13BC-453C-AF93-7635FA83FF8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136001" y="324000"/>
            <a:ext cx="6732001" cy="62100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and insert picture via Templafy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471773-71F9-4B85-9108-FDF08BF0EE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92000" y="6210000"/>
            <a:ext cx="1920000" cy="324000"/>
          </a:xfrm>
        </p:spPr>
        <p:txBody>
          <a:bodyPr anchor="b"/>
          <a:lstStyle>
            <a:lvl1pPr marL="0" indent="0" algn="r">
              <a:buNone/>
              <a:defRPr sz="6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picture text</a:t>
            </a:r>
          </a:p>
        </p:txBody>
      </p:sp>
      <p:sp>
        <p:nvSpPr>
          <p:cNvPr id="4" name="Tagline" descr="{&quot;templafy&quot;:{&quot;id&quot;:&quot;173913be-1100-48d2-aff0-9c93648545a2&quot;}}" title="Form.PLogoChoice.PLogoInsertion">
            <a:extLst>
              <a:ext uri="{FF2B5EF4-FFF2-40B4-BE49-F238E27FC236}">
                <a16:creationId xmlns:a16="http://schemas.microsoft.com/office/drawing/2014/main" id="{AD76CD6D-257F-451B-A84B-5F86799B060C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416331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5015" cy="129286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buNone/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3896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131500" y="1944000"/>
            <a:ext cx="3412800" cy="4266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buNone/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CC65D2-4706-45DF-B68A-6AB31D8D1B2D}" type="datetime3">
              <a:rPr lang="en-US" smtClean="0"/>
              <a:t>29 January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F91D68D-2FA9-4CAD-8EF0-C0BF3460A3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1067" i="1" dirty="0"/>
            </a:lvl1pPr>
          </a:lstStyle>
          <a:p>
            <a:pPr marL="0" lvl="0" indent="0">
              <a:buNone/>
            </a:pPr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21787655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582F4C9-BD59-E232-C7A4-F0895E5FE7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2159CA6C-8E09-1E98-6D7E-D332AD0A311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41C35781-E9CA-7930-9056-66EFDB7B60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9889D5AC-B4EA-FB0B-2A3F-5552AC3613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0148E-80EA-4707-BC54-0BF4CCE74621}" type="datetimeFigureOut">
              <a:rPr lang="it-IT" smtClean="0"/>
              <a:t>29/01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7560FB2C-EDA1-11C5-ACE5-2460CA468D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9FB8A043-1E85-76FF-AB69-2E32E795C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4700909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EAC862-3F5E-4BE7-98A8-908A40076F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10896000" cy="129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81FC0A7-42F8-4349-8CA5-D573D5B636C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48000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2B952AC-1C62-4199-9CD6-8B1EDC5F8A3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58000" y="1944000"/>
            <a:ext cx="5286000" cy="18144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7915" y="4076700"/>
            <a:ext cx="5286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052468-20E3-462E-9717-778AD7EDB57C}" type="datetime3">
              <a:rPr lang="en-US" smtClean="0"/>
              <a:t>29 January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EC381D6-39E2-4766-8084-72599657FA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GB" sz="1067" i="1" dirty="0"/>
            </a:lvl1pPr>
          </a:lstStyle>
          <a:p>
            <a:pPr marL="0" lvl="0" indent="0">
              <a:buNone/>
            </a:pPr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68320098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82C40FC-7870-4C1F-9C95-3246AC8AF6C8}"/>
              </a:ext>
            </a:extLst>
          </p:cNvPr>
          <p:cNvSpPr/>
          <p:nvPr userDrawn="1"/>
        </p:nvSpPr>
        <p:spPr bwMode="ltGray">
          <a:xfrm>
            <a:off x="324001" y="3429000"/>
            <a:ext cx="11544001" cy="3105000"/>
          </a:xfrm>
          <a:prstGeom prst="rect">
            <a:avLst/>
          </a:prstGeom>
          <a:solidFill>
            <a:srgbClr val="FC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1" y="648000"/>
            <a:ext cx="8652001" cy="3105000"/>
          </a:xfrm>
        </p:spPr>
        <p:txBody>
          <a:bodyPr anchor="b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B6B429-7799-4339-B7CE-2765835DF7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92000" y="4077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7B2CB86-6590-49D4-96EB-823C6647FE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35999" y="4077000"/>
            <a:ext cx="4164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5E1B88D-BEB4-49A3-83C3-C98DF1AC33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24000" y="4077000"/>
            <a:ext cx="1920000" cy="2133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5886000"/>
            <a:ext cx="1920000" cy="324000"/>
          </a:xfrm>
        </p:spPr>
        <p:txBody>
          <a:bodyPr anchor="b"/>
          <a:lstStyle>
            <a:lvl1pPr marL="0" indent="0">
              <a:buNone/>
              <a:defRPr sz="6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D752CB-4586-4ED8-8DDC-9B3317D94291}" type="datetime3">
              <a:rPr lang="en-US" smtClean="0"/>
              <a:t>29 January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97246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82C40FC-7870-4C1F-9C95-3246AC8AF6C8}"/>
              </a:ext>
            </a:extLst>
          </p:cNvPr>
          <p:cNvSpPr/>
          <p:nvPr userDrawn="1"/>
        </p:nvSpPr>
        <p:spPr bwMode="ltGray">
          <a:xfrm>
            <a:off x="2892002" y="324000"/>
            <a:ext cx="8975999" cy="6210000"/>
          </a:xfrm>
          <a:prstGeom prst="rect">
            <a:avLst/>
          </a:prstGeom>
          <a:solidFill>
            <a:srgbClr val="D4E9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4164000" cy="5562000"/>
          </a:xfrm>
        </p:spPr>
        <p:txBody>
          <a:bodyPr anchor="ctr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6210000"/>
            <a:ext cx="4164000" cy="324000"/>
          </a:xfrm>
        </p:spPr>
        <p:txBody>
          <a:bodyPr anchor="b"/>
          <a:lstStyle>
            <a:lvl1pPr marL="0" indent="0">
              <a:buNone/>
              <a:defRPr sz="6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05D3A1-1237-4E3F-81F8-A718F0128939}" type="datetime3">
              <a:rPr lang="en-US" smtClean="0"/>
              <a:t>29 January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CDAC364-33E1-4E5D-B7FA-E4D38492129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35999" y="648000"/>
            <a:ext cx="4164001" cy="556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8270947-5EF6-40DC-A2E5-BBCD8A56EE7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624000" y="648000"/>
            <a:ext cx="1920000" cy="55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021942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82C40FC-7870-4C1F-9C95-3246AC8AF6C8}"/>
              </a:ext>
            </a:extLst>
          </p:cNvPr>
          <p:cNvSpPr/>
          <p:nvPr userDrawn="1"/>
        </p:nvSpPr>
        <p:spPr bwMode="ltGray">
          <a:xfrm>
            <a:off x="5136001" y="324000"/>
            <a:ext cx="6732001" cy="6210000"/>
          </a:xfrm>
          <a:prstGeom prst="rect">
            <a:avLst/>
          </a:prstGeom>
          <a:solidFill>
            <a:srgbClr val="D8EA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648000"/>
            <a:ext cx="6408000" cy="2133000"/>
          </a:xfrm>
        </p:spPr>
        <p:txBody>
          <a:bodyPr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B6B429-7799-4339-B7CE-2765835DF7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92000" y="3429000"/>
            <a:ext cx="1920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7B2CB86-6590-49D4-96EB-823C6647FE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0000" y="3429000"/>
            <a:ext cx="4164000" cy="2781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EE9CAB8-E41D-4FCF-AC14-48AEBE341F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920000" cy="324000"/>
          </a:xfrm>
        </p:spPr>
        <p:txBody>
          <a:bodyPr anchor="b"/>
          <a:lstStyle>
            <a:lvl1pPr marL="0" indent="0">
              <a:buNone/>
              <a:defRPr sz="6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E1F3AB-868B-4293-B3DE-7B045891B11B}" type="datetime3">
              <a:rPr lang="en-US" smtClean="0"/>
              <a:t>29 January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163720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err="1">
              <a:solidFill>
                <a:schemeClr val="tx1"/>
              </a:solidFill>
              <a:latin typeface="Apis For Office" panose="020B0504010101010104" pitchFamily="34" charset="0"/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4" y="656825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>
                <a:solidFill>
                  <a:schemeClr val="bg1"/>
                </a:solidFill>
                <a:latin typeface="Apis For Office" panose="020B0504010101010104" pitchFamily="34" charset="0"/>
              </a:rPr>
              <a:t>If you see any </a:t>
            </a:r>
            <a:r>
              <a:rPr lang="en-GB" sz="4400" b="1" i="1" noProof="0">
                <a:solidFill>
                  <a:schemeClr val="bg1"/>
                </a:solidFill>
                <a:latin typeface="Apis For Office" panose="020B0504010101010104" pitchFamily="34" charset="0"/>
              </a:rPr>
              <a:t>layouts after this </a:t>
            </a:r>
            <a:r>
              <a:rPr lang="en-GB" sz="4400" b="0" i="0" noProof="0">
                <a:solidFill>
                  <a:schemeClr val="bg1"/>
                </a:solidFill>
                <a:latin typeface="Apis For Office" panose="020B0504010101010104" pitchFamily="34" charset="0"/>
              </a:rPr>
              <a:t>one</a:t>
            </a:r>
            <a:r>
              <a:rPr lang="en-GB" sz="4400" b="1" i="1" noProof="0">
                <a:solidFill>
                  <a:schemeClr val="bg1"/>
                </a:solidFill>
                <a:latin typeface="Apis For Office" panose="020B0504010101010104" pitchFamily="34" charset="0"/>
              </a:rPr>
              <a:t>,</a:t>
            </a:r>
            <a:br>
              <a:rPr lang="en-GB" sz="4400" b="0" i="0" noProof="0">
                <a:solidFill>
                  <a:schemeClr val="bg1"/>
                </a:solidFill>
                <a:latin typeface="Apis For Office" panose="020B0504010101010104" pitchFamily="34" charset="0"/>
              </a:rPr>
            </a:br>
            <a:r>
              <a:rPr lang="en-GB" sz="4400" b="0" noProof="0">
                <a:solidFill>
                  <a:schemeClr val="bg1"/>
                </a:solidFill>
                <a:latin typeface="Apis For Office" panose="020B0504010101010104" pitchFamily="34" charset="0"/>
              </a:rPr>
              <a:t>do not use them. These layouts </a:t>
            </a:r>
            <a:r>
              <a:rPr lang="en-GB" sz="4400" b="1" i="1" u="none" noProof="0">
                <a:solidFill>
                  <a:schemeClr val="bg1"/>
                </a:solidFill>
                <a:latin typeface="Apis For Office" panose="020B0504010101010104" pitchFamily="34" charset="0"/>
              </a:rPr>
              <a:t>are not </a:t>
            </a:r>
            <a:r>
              <a:rPr lang="en-GB" sz="4400" b="0" noProof="0">
                <a:solidFill>
                  <a:schemeClr val="bg1"/>
                </a:solidFill>
                <a:latin typeface="Apis For Office" panose="020B0504010101010104" pitchFamily="34" charset="0"/>
              </a:rPr>
              <a:t>part of our corporate template.</a:t>
            </a:r>
            <a:br>
              <a:rPr lang="en-GB" sz="2800" b="0" noProof="0">
                <a:solidFill>
                  <a:schemeClr val="bg1"/>
                </a:solidFill>
                <a:latin typeface="Apis For Office" panose="020B0504010101010104" pitchFamily="34" charset="0"/>
              </a:rPr>
            </a:br>
            <a:br>
              <a:rPr lang="en-GB" sz="2800" b="0" noProof="0">
                <a:solidFill>
                  <a:schemeClr val="bg1"/>
                </a:solidFill>
                <a:latin typeface="Apis For Office" panose="020B0504010101010104" pitchFamily="34" charset="0"/>
              </a:rPr>
            </a:br>
            <a:endParaRPr lang="en-GB" sz="2800" b="0" noProof="0">
              <a:solidFill>
                <a:schemeClr val="bg1"/>
              </a:solidFill>
              <a:latin typeface="Apis For Office" panose="020B05040101010101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5" y="3325227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err="1">
                <a:solidFill>
                  <a:schemeClr val="tx1"/>
                </a:solidFill>
                <a:latin typeface="Apis For Office" panose="020B0504010101010104" pitchFamily="34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err="1">
                <a:solidFill>
                  <a:schemeClr val="tx1"/>
                </a:solidFill>
                <a:latin typeface="Apis For Office" panose="020B0504010101010104" pitchFamily="34" charset="0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5"/>
            <a:ext cx="10152347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>
                <a:solidFill>
                  <a:schemeClr val="bg1"/>
                </a:solidFill>
                <a:latin typeface="Apis For Office" panose="020B0504010101010104" pitchFamily="34" charset="0"/>
              </a:rPr>
              <a:t>Do not use </a:t>
            </a:r>
            <a:endParaRPr lang="en-GB" sz="2400" b="1" i="1">
              <a:latin typeface="Apis For Office" panose="020B0504010101010104" pitchFamily="34" charset="0"/>
            </a:endParaRPr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186455"/>
            <a:ext cx="11356975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>
                <a:solidFill>
                  <a:schemeClr val="bg1"/>
                </a:solidFill>
                <a:latin typeface="Apis For Office" panose="020B0504010101010104" pitchFamily="34" charset="0"/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>
                <a:solidFill>
                  <a:schemeClr val="bg1"/>
                </a:solidFill>
                <a:latin typeface="Apis For Office" panose="020B0504010101010104" pitchFamily="34" charset="0"/>
              </a:rPr>
              <a:t>Also notice: Layouts after this might contain potential confidential information.</a:t>
            </a:r>
            <a:br>
              <a:rPr lang="en-GB" sz="1800" b="0" noProof="0">
                <a:solidFill>
                  <a:schemeClr val="bg1"/>
                </a:solidFill>
                <a:latin typeface="Apis For Office" panose="020B0504010101010104" pitchFamily="34" charset="0"/>
              </a:rPr>
            </a:br>
            <a:endParaRPr lang="en-GB" sz="1800" b="0" noProof="0">
              <a:solidFill>
                <a:schemeClr val="bg1"/>
              </a:solidFill>
              <a:latin typeface="Apis For Office" panose="020B0504010101010104" pitchFamily="34" charset="0"/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9F65B27A-09D4-4045-A1E1-7A255ABBF5A9}" type="datetime3">
              <a:rPr lang="en-US" smtClean="0"/>
              <a:t>29 January 2025</a:t>
            </a:fld>
            <a:endParaRPr lang="en-GB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969495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E041C0BA-34B2-4E53-98B1-5DF02B255F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3335" y="5985835"/>
            <a:ext cx="11345333" cy="39158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216000" bIns="0" numCol="1" anchor="b" anchorCtr="0" compatLnSpc="1">
            <a:prstTxWarp prst="textNoShape">
              <a:avLst/>
            </a:prstTxWarp>
          </a:bodyPr>
          <a:lstStyle>
            <a:lvl1pPr>
              <a:spcAft>
                <a:spcPts val="0"/>
              </a:spcAft>
              <a:defRPr lang="en-US" sz="1000" dirty="0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424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porting E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1" y="647700"/>
            <a:ext cx="10896601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547701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5B9A70-CF7A-4620-9CE3-3CD5021B25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9200" y="1547701"/>
            <a:ext cx="5284800" cy="46623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AF405E3-B39D-45EE-8E47-4F2225BD2A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89739349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porting D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999" y="648000"/>
            <a:ext cx="10896000" cy="900000"/>
          </a:xfrm>
        </p:spPr>
        <p:txBody>
          <a:bodyPr/>
          <a:lstStyle>
            <a:lvl1pPr>
              <a:defRPr sz="2800" b="1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1" y="1548000"/>
            <a:ext cx="10896001" cy="466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 sz="600"/>
            </a:lvl8pPr>
            <a:lvl9pPr>
              <a:defRPr sz="3200"/>
            </a:lvl9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›</a:t>
            </a:fld>
            <a:endParaRPr lang="en-GB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0D294CC-24C2-47E3-B826-6C4083885A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8652000" cy="324000"/>
          </a:xfrm>
        </p:spPr>
        <p:txBody>
          <a:bodyPr anchor="b"/>
          <a:lstStyle>
            <a:lvl1pPr marL="0" indent="0">
              <a:buNone/>
              <a:defRPr sz="800" i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27061941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23356" y="6019899"/>
            <a:ext cx="1134626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/>
              <a:t>Reference</a:t>
            </a:r>
          </a:p>
        </p:txBody>
      </p:sp>
      <p:pic>
        <p:nvPicPr>
          <p:cNvPr id="337" name="Picture 336">
            <a:extLst>
              <a:ext uri="{FF2B5EF4-FFF2-40B4-BE49-F238E27FC236}">
                <a16:creationId xmlns:a16="http://schemas.microsoft.com/office/drawing/2014/main" id="{511C5657-CE8B-4E35-A4DF-CC134804A5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09487"/>
            <a:ext cx="12192001" cy="4865401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5C1E3701-DED0-4985-AB18-8992814566DA}"/>
              </a:ext>
            </a:extLst>
          </p:cNvPr>
          <p:cNvGrpSpPr/>
          <p:nvPr userDrawn="1"/>
        </p:nvGrpSpPr>
        <p:grpSpPr>
          <a:xfrm>
            <a:off x="10645304" y="5581707"/>
            <a:ext cx="1279789" cy="929189"/>
            <a:chOff x="7983978" y="4186280"/>
            <a:chExt cx="959842" cy="696892"/>
          </a:xfrm>
        </p:grpSpPr>
        <p:grpSp>
          <p:nvGrpSpPr>
            <p:cNvPr id="344" name="Group 343">
              <a:extLst>
                <a:ext uri="{FF2B5EF4-FFF2-40B4-BE49-F238E27FC236}">
                  <a16:creationId xmlns:a16="http://schemas.microsoft.com/office/drawing/2014/main" id="{9B218A25-6A87-47B7-A079-F869E70337C2}"/>
                </a:ext>
              </a:extLst>
            </p:cNvPr>
            <p:cNvGrpSpPr/>
            <p:nvPr userDrawn="1"/>
          </p:nvGrpSpPr>
          <p:grpSpPr>
            <a:xfrm rot="21057248">
              <a:off x="7983978" y="4186280"/>
              <a:ext cx="598849" cy="338677"/>
              <a:chOff x="3925596" y="3102305"/>
              <a:chExt cx="1061639" cy="600407"/>
            </a:xfrm>
          </p:grpSpPr>
          <p:sp>
            <p:nvSpPr>
              <p:cNvPr id="351" name="Freeform: Shape 350">
                <a:extLst>
                  <a:ext uri="{FF2B5EF4-FFF2-40B4-BE49-F238E27FC236}">
                    <a16:creationId xmlns:a16="http://schemas.microsoft.com/office/drawing/2014/main" id="{1870F5C4-739E-4C9C-AF68-1728FF7D45A9}"/>
                  </a:ext>
                </a:extLst>
              </p:cNvPr>
              <p:cNvSpPr/>
              <p:nvPr/>
            </p:nvSpPr>
            <p:spPr>
              <a:xfrm rot="20962859" flipH="1">
                <a:off x="3925596" y="3119937"/>
                <a:ext cx="1059072" cy="582775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chemeClr val="accent2"/>
              </a:solidFill>
              <a:ln w="285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  <p:sp>
            <p:nvSpPr>
              <p:cNvPr id="352" name="Freeform: Shape 351">
                <a:extLst>
                  <a:ext uri="{FF2B5EF4-FFF2-40B4-BE49-F238E27FC236}">
                    <a16:creationId xmlns:a16="http://schemas.microsoft.com/office/drawing/2014/main" id="{BDD48BE0-C559-4C2F-A393-F30E7618598A}"/>
                  </a:ext>
                </a:extLst>
              </p:cNvPr>
              <p:cNvSpPr/>
              <p:nvPr/>
            </p:nvSpPr>
            <p:spPr>
              <a:xfrm rot="20962859" flipH="1">
                <a:off x="3928163" y="3102305"/>
                <a:ext cx="1059072" cy="523701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</p:grpSp>
        <p:grpSp>
          <p:nvGrpSpPr>
            <p:cNvPr id="345" name="Group 344">
              <a:extLst>
                <a:ext uri="{FF2B5EF4-FFF2-40B4-BE49-F238E27FC236}">
                  <a16:creationId xmlns:a16="http://schemas.microsoft.com/office/drawing/2014/main" id="{77216F4F-7C6B-4E67-9D75-DEC8765060E2}"/>
                </a:ext>
              </a:extLst>
            </p:cNvPr>
            <p:cNvGrpSpPr/>
            <p:nvPr userDrawn="1"/>
          </p:nvGrpSpPr>
          <p:grpSpPr>
            <a:xfrm rot="2701796">
              <a:off x="8534965" y="4410195"/>
              <a:ext cx="522316" cy="295394"/>
              <a:chOff x="3925596" y="3102305"/>
              <a:chExt cx="1061639" cy="600407"/>
            </a:xfrm>
          </p:grpSpPr>
          <p:sp>
            <p:nvSpPr>
              <p:cNvPr id="349" name="Freeform: Shape 348">
                <a:extLst>
                  <a:ext uri="{FF2B5EF4-FFF2-40B4-BE49-F238E27FC236}">
                    <a16:creationId xmlns:a16="http://schemas.microsoft.com/office/drawing/2014/main" id="{DA607A84-025E-4337-8CA5-96DB72F9BFCE}"/>
                  </a:ext>
                </a:extLst>
              </p:cNvPr>
              <p:cNvSpPr/>
              <p:nvPr/>
            </p:nvSpPr>
            <p:spPr>
              <a:xfrm rot="20962859" flipH="1">
                <a:off x="3925596" y="3119937"/>
                <a:ext cx="1059072" cy="582775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rgbClr val="007C92"/>
              </a:solidFill>
              <a:ln w="28575">
                <a:solidFill>
                  <a:srgbClr val="007C9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  <p:sp>
            <p:nvSpPr>
              <p:cNvPr id="350" name="Freeform: Shape 349">
                <a:extLst>
                  <a:ext uri="{FF2B5EF4-FFF2-40B4-BE49-F238E27FC236}">
                    <a16:creationId xmlns:a16="http://schemas.microsoft.com/office/drawing/2014/main" id="{6176D660-C691-4E15-AC04-E9757CD47781}"/>
                  </a:ext>
                </a:extLst>
              </p:cNvPr>
              <p:cNvSpPr/>
              <p:nvPr/>
            </p:nvSpPr>
            <p:spPr>
              <a:xfrm rot="20962859" flipH="1">
                <a:off x="3928163" y="3102305"/>
                <a:ext cx="1059072" cy="523701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rgbClr val="007C9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</p:grpSp>
        <p:grpSp>
          <p:nvGrpSpPr>
            <p:cNvPr id="346" name="Group 345">
              <a:extLst>
                <a:ext uri="{FF2B5EF4-FFF2-40B4-BE49-F238E27FC236}">
                  <a16:creationId xmlns:a16="http://schemas.microsoft.com/office/drawing/2014/main" id="{090122C7-1C2C-457B-A890-1F1F601C0AD4}"/>
                </a:ext>
              </a:extLst>
            </p:cNvPr>
            <p:cNvGrpSpPr/>
            <p:nvPr userDrawn="1"/>
          </p:nvGrpSpPr>
          <p:grpSpPr>
            <a:xfrm rot="18904393">
              <a:off x="8249788" y="4675033"/>
              <a:ext cx="368031" cy="208139"/>
              <a:chOff x="3925596" y="3102305"/>
              <a:chExt cx="1061639" cy="600407"/>
            </a:xfrm>
          </p:grpSpPr>
          <p:sp>
            <p:nvSpPr>
              <p:cNvPr id="347" name="Freeform: Shape 346">
                <a:extLst>
                  <a:ext uri="{FF2B5EF4-FFF2-40B4-BE49-F238E27FC236}">
                    <a16:creationId xmlns:a16="http://schemas.microsoft.com/office/drawing/2014/main" id="{43D3CFEB-360E-456A-9FE5-A156E0698BBD}"/>
                  </a:ext>
                </a:extLst>
              </p:cNvPr>
              <p:cNvSpPr/>
              <p:nvPr/>
            </p:nvSpPr>
            <p:spPr>
              <a:xfrm rot="20962859" flipH="1">
                <a:off x="3925596" y="3119937"/>
                <a:ext cx="1059072" cy="582775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rgbClr val="72B5CC"/>
              </a:solidFill>
              <a:ln w="28575">
                <a:solidFill>
                  <a:srgbClr val="72B5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  <p:sp>
            <p:nvSpPr>
              <p:cNvPr id="348" name="Freeform: Shape 347">
                <a:extLst>
                  <a:ext uri="{FF2B5EF4-FFF2-40B4-BE49-F238E27FC236}">
                    <a16:creationId xmlns:a16="http://schemas.microsoft.com/office/drawing/2014/main" id="{DA4C7121-1C62-4C33-A0A5-D474FA4B59A2}"/>
                  </a:ext>
                </a:extLst>
              </p:cNvPr>
              <p:cNvSpPr/>
              <p:nvPr/>
            </p:nvSpPr>
            <p:spPr>
              <a:xfrm rot="20962859" flipH="1">
                <a:off x="3928163" y="3102305"/>
                <a:ext cx="1059072" cy="523701"/>
              </a:xfrm>
              <a:custGeom>
                <a:avLst/>
                <a:gdLst>
                  <a:gd name="connsiteX0" fmla="*/ 531425 w 1059072"/>
                  <a:gd name="connsiteY0" fmla="*/ 0 h 523701"/>
                  <a:gd name="connsiteX1" fmla="*/ 529537 w 1059072"/>
                  <a:gd name="connsiteY1" fmla="*/ 77 h 523701"/>
                  <a:gd name="connsiteX2" fmla="*/ 527648 w 1059072"/>
                  <a:gd name="connsiteY2" fmla="*/ 0 h 523701"/>
                  <a:gd name="connsiteX3" fmla="*/ 527648 w 1059072"/>
                  <a:gd name="connsiteY3" fmla="*/ 153 h 523701"/>
                  <a:gd name="connsiteX4" fmla="*/ 467626 w 1059072"/>
                  <a:gd name="connsiteY4" fmla="*/ 2581 h 523701"/>
                  <a:gd name="connsiteX5" fmla="*/ 84530 w 1059072"/>
                  <a:gd name="connsiteY5" fmla="*/ 143756 h 523701"/>
                  <a:gd name="connsiteX6" fmla="*/ 13 w 1059072"/>
                  <a:gd name="connsiteY6" fmla="*/ 283706 h 523701"/>
                  <a:gd name="connsiteX7" fmla="*/ 92744 w 1059072"/>
                  <a:gd name="connsiteY7" fmla="*/ 412532 h 523701"/>
                  <a:gd name="connsiteX8" fmla="*/ 471106 w 1059072"/>
                  <a:gd name="connsiteY8" fmla="*/ 522367 h 523701"/>
                  <a:gd name="connsiteX9" fmla="*/ 527648 w 1059072"/>
                  <a:gd name="connsiteY9" fmla="*/ 523618 h 523701"/>
                  <a:gd name="connsiteX10" fmla="*/ 527648 w 1059072"/>
                  <a:gd name="connsiteY10" fmla="*/ 523701 h 523701"/>
                  <a:gd name="connsiteX11" fmla="*/ 529537 w 1059072"/>
                  <a:gd name="connsiteY11" fmla="*/ 523659 h 523701"/>
                  <a:gd name="connsiteX12" fmla="*/ 531425 w 1059072"/>
                  <a:gd name="connsiteY12" fmla="*/ 523701 h 523701"/>
                  <a:gd name="connsiteX13" fmla="*/ 531425 w 1059072"/>
                  <a:gd name="connsiteY13" fmla="*/ 523618 h 523701"/>
                  <a:gd name="connsiteX14" fmla="*/ 587967 w 1059072"/>
                  <a:gd name="connsiteY14" fmla="*/ 522367 h 523701"/>
                  <a:gd name="connsiteX15" fmla="*/ 966329 w 1059072"/>
                  <a:gd name="connsiteY15" fmla="*/ 412532 h 523701"/>
                  <a:gd name="connsiteX16" fmla="*/ 1059060 w 1059072"/>
                  <a:gd name="connsiteY16" fmla="*/ 283706 h 523701"/>
                  <a:gd name="connsiteX17" fmla="*/ 974543 w 1059072"/>
                  <a:gd name="connsiteY17" fmla="*/ 143756 h 523701"/>
                  <a:gd name="connsiteX18" fmla="*/ 591447 w 1059072"/>
                  <a:gd name="connsiteY18" fmla="*/ 2581 h 523701"/>
                  <a:gd name="connsiteX19" fmla="*/ 531425 w 1059072"/>
                  <a:gd name="connsiteY19" fmla="*/ 153 h 5237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59072" h="523701">
                    <a:moveTo>
                      <a:pt x="531425" y="0"/>
                    </a:moveTo>
                    <a:lnTo>
                      <a:pt x="529537" y="77"/>
                    </a:lnTo>
                    <a:lnTo>
                      <a:pt x="527648" y="0"/>
                    </a:lnTo>
                    <a:lnTo>
                      <a:pt x="527648" y="153"/>
                    </a:lnTo>
                    <a:lnTo>
                      <a:pt x="467626" y="2581"/>
                    </a:lnTo>
                    <a:cubicBezTo>
                      <a:pt x="312518" y="19132"/>
                      <a:pt x="162434" y="102366"/>
                      <a:pt x="84530" y="143756"/>
                    </a:cubicBezTo>
                    <a:cubicBezTo>
                      <a:pt x="-4503" y="191059"/>
                      <a:pt x="133" y="237545"/>
                      <a:pt x="13" y="283706"/>
                    </a:cubicBezTo>
                    <a:cubicBezTo>
                      <a:pt x="-107" y="329867"/>
                      <a:pt x="3711" y="372523"/>
                      <a:pt x="92744" y="412532"/>
                    </a:cubicBezTo>
                    <a:cubicBezTo>
                      <a:pt x="170648" y="447540"/>
                      <a:pt x="322783" y="511091"/>
                      <a:pt x="471106" y="522367"/>
                    </a:cubicBezTo>
                    <a:lnTo>
                      <a:pt x="527648" y="523618"/>
                    </a:lnTo>
                    <a:lnTo>
                      <a:pt x="527648" y="523701"/>
                    </a:lnTo>
                    <a:lnTo>
                      <a:pt x="529537" y="523659"/>
                    </a:lnTo>
                    <a:lnTo>
                      <a:pt x="531425" y="523701"/>
                    </a:lnTo>
                    <a:lnTo>
                      <a:pt x="531425" y="523618"/>
                    </a:lnTo>
                    <a:lnTo>
                      <a:pt x="587967" y="522367"/>
                    </a:lnTo>
                    <a:cubicBezTo>
                      <a:pt x="736290" y="511091"/>
                      <a:pt x="888425" y="447540"/>
                      <a:pt x="966329" y="412532"/>
                    </a:cubicBezTo>
                    <a:cubicBezTo>
                      <a:pt x="1055362" y="372523"/>
                      <a:pt x="1059180" y="329867"/>
                      <a:pt x="1059060" y="283706"/>
                    </a:cubicBezTo>
                    <a:cubicBezTo>
                      <a:pt x="1058940" y="237545"/>
                      <a:pt x="1063576" y="191059"/>
                      <a:pt x="974543" y="143756"/>
                    </a:cubicBezTo>
                    <a:cubicBezTo>
                      <a:pt x="896639" y="102366"/>
                      <a:pt x="746555" y="19132"/>
                      <a:pt x="591447" y="2581"/>
                    </a:cubicBezTo>
                    <a:lnTo>
                      <a:pt x="531425" y="153"/>
                    </a:ln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rgbClr val="72B5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89"/>
              </a:p>
            </p:txBody>
          </p:sp>
        </p:grp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6A181B69-CB8D-4DAD-AF6F-80BA5A3B7901}"/>
              </a:ext>
            </a:extLst>
          </p:cNvPr>
          <p:cNvSpPr txBox="1"/>
          <p:nvPr userDrawn="1"/>
        </p:nvSpPr>
        <p:spPr>
          <a:xfrm>
            <a:off x="745066" y="4110204"/>
            <a:ext cx="10701869" cy="165591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endParaRPr lang="en-CA" sz="5333" b="1">
              <a:solidFill>
                <a:schemeClr val="accent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7E41ED8-2D13-4B3E-B415-71ADF40E0573}"/>
              </a:ext>
            </a:extLst>
          </p:cNvPr>
          <p:cNvSpPr/>
          <p:nvPr userDrawn="1"/>
        </p:nvSpPr>
        <p:spPr>
          <a:xfrm>
            <a:off x="0" y="0"/>
            <a:ext cx="12192000" cy="381003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30000">
                <a:schemeClr val="bg1">
                  <a:alpha val="10000"/>
                </a:schemeClr>
              </a:gs>
              <a:gs pos="59000">
                <a:schemeClr val="bg1">
                  <a:alpha val="50000"/>
                </a:schemeClr>
              </a:gs>
              <a:gs pos="91000">
                <a:schemeClr val="bg1">
                  <a:alpha val="8000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89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2FB8311-43F9-419F-9FE3-E1D7801A1F92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745066" y="1392472"/>
            <a:ext cx="10701869" cy="1937489"/>
          </a:xfrm>
        </p:spPr>
        <p:txBody>
          <a:bodyPr tIns="57575" anchor="b"/>
          <a:lstStyle>
            <a:lvl1pPr algn="l">
              <a:lnSpc>
                <a:spcPct val="90000"/>
              </a:lnSpc>
              <a:defRPr sz="6400" spc="-2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65AB618-3B81-4D6E-BF4D-FF98D6A8875F}"/>
              </a:ext>
            </a:extLst>
          </p:cNvPr>
          <p:cNvCxnSpPr>
            <a:cxnSpLocks/>
          </p:cNvCxnSpPr>
          <p:nvPr userDrawn="1"/>
        </p:nvCxnSpPr>
        <p:spPr>
          <a:xfrm>
            <a:off x="-1" y="3471727"/>
            <a:ext cx="11579423" cy="0"/>
          </a:xfrm>
          <a:prstGeom prst="line">
            <a:avLst/>
          </a:prstGeom>
          <a:ln w="38100" cap="rnd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0" name="Straight Connector 339">
            <a:extLst>
              <a:ext uri="{FF2B5EF4-FFF2-40B4-BE49-F238E27FC236}">
                <a16:creationId xmlns:a16="http://schemas.microsoft.com/office/drawing/2014/main" id="{AAB4F1E0-69A7-42D9-9BF6-5E933A26C55F}"/>
              </a:ext>
            </a:extLst>
          </p:cNvPr>
          <p:cNvCxnSpPr>
            <a:cxnSpLocks/>
          </p:cNvCxnSpPr>
          <p:nvPr userDrawn="1"/>
        </p:nvCxnSpPr>
        <p:spPr>
          <a:xfrm>
            <a:off x="-2" y="3566244"/>
            <a:ext cx="11737019" cy="0"/>
          </a:xfrm>
          <a:prstGeom prst="line">
            <a:avLst/>
          </a:prstGeom>
          <a:ln w="38100" cap="rnd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1" name="Straight Connector 340">
            <a:extLst>
              <a:ext uri="{FF2B5EF4-FFF2-40B4-BE49-F238E27FC236}">
                <a16:creationId xmlns:a16="http://schemas.microsoft.com/office/drawing/2014/main" id="{36DBC1E5-8E02-4635-BBB6-C0E75048B10B}"/>
              </a:ext>
            </a:extLst>
          </p:cNvPr>
          <p:cNvCxnSpPr>
            <a:cxnSpLocks/>
          </p:cNvCxnSpPr>
          <p:nvPr userDrawn="1"/>
        </p:nvCxnSpPr>
        <p:spPr>
          <a:xfrm>
            <a:off x="-1" y="3660761"/>
            <a:ext cx="11894615" cy="0"/>
          </a:xfrm>
          <a:prstGeom prst="line">
            <a:avLst/>
          </a:prstGeom>
          <a:ln w="38100" cap="rnd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7226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422400" y="1209111"/>
            <a:ext cx="11347200" cy="26630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/>
          <a:lstStyle>
            <a:lvl1pPr marL="0" indent="0" algn="l">
              <a:buFontTx/>
              <a:buNone/>
              <a:defRPr sz="1867" baseline="0">
                <a:solidFill>
                  <a:srgbClr val="009FDA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423335" y="5985835"/>
            <a:ext cx="11345333" cy="39158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216000" bIns="0" numCol="1" anchor="b" anchorCtr="0" compatLnSpc="1">
            <a:prstTxWarp prst="textNoShape">
              <a:avLst/>
            </a:prstTxWarp>
          </a:bodyPr>
          <a:lstStyle>
            <a:lvl1pPr>
              <a:spcAft>
                <a:spcPts val="0"/>
              </a:spcAft>
              <a:defRPr lang="en-US" sz="1000" dirty="0" smtClean="0">
                <a:solidFill>
                  <a:schemeClr val="accent3"/>
                </a:solidFill>
              </a:defRPr>
            </a:lvl1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5650921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tags" Target="../tags/tag55.xml"/><Relationship Id="rId21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55.xml"/><Relationship Id="rId63" Type="http://schemas.openxmlformats.org/officeDocument/2006/relationships/tags" Target="../tags/tag1.xml"/><Relationship Id="rId84" Type="http://schemas.openxmlformats.org/officeDocument/2006/relationships/tags" Target="../tags/tag22.xml"/><Relationship Id="rId138" Type="http://schemas.openxmlformats.org/officeDocument/2006/relationships/tags" Target="../tags/tag76.xml"/><Relationship Id="rId107" Type="http://schemas.openxmlformats.org/officeDocument/2006/relationships/tags" Target="../tags/tag45.xml"/><Relationship Id="rId11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66.xml"/><Relationship Id="rId74" Type="http://schemas.openxmlformats.org/officeDocument/2006/relationships/tags" Target="../tags/tag12.xml"/><Relationship Id="rId128" Type="http://schemas.openxmlformats.org/officeDocument/2006/relationships/tags" Target="../tags/tag66.xml"/><Relationship Id="rId149" Type="http://schemas.openxmlformats.org/officeDocument/2006/relationships/tags" Target="../tags/tag87.xml"/><Relationship Id="rId5" Type="http://schemas.openxmlformats.org/officeDocument/2006/relationships/slideLayout" Target="../slideLayouts/slideLayout18.xml"/><Relationship Id="rId95" Type="http://schemas.openxmlformats.org/officeDocument/2006/relationships/tags" Target="../tags/tag33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43" Type="http://schemas.openxmlformats.org/officeDocument/2006/relationships/slideLayout" Target="../slideLayouts/slideLayout56.xml"/><Relationship Id="rId48" Type="http://schemas.openxmlformats.org/officeDocument/2006/relationships/slideLayout" Target="../slideLayouts/slideLayout61.xml"/><Relationship Id="rId64" Type="http://schemas.openxmlformats.org/officeDocument/2006/relationships/tags" Target="../tags/tag2.xml"/><Relationship Id="rId69" Type="http://schemas.openxmlformats.org/officeDocument/2006/relationships/tags" Target="../tags/tag7.xml"/><Relationship Id="rId113" Type="http://schemas.openxmlformats.org/officeDocument/2006/relationships/tags" Target="../tags/tag51.xml"/><Relationship Id="rId118" Type="http://schemas.openxmlformats.org/officeDocument/2006/relationships/tags" Target="../tags/tag56.xml"/><Relationship Id="rId134" Type="http://schemas.openxmlformats.org/officeDocument/2006/relationships/tags" Target="../tags/tag72.xml"/><Relationship Id="rId139" Type="http://schemas.openxmlformats.org/officeDocument/2006/relationships/tags" Target="../tags/tag77.xml"/><Relationship Id="rId80" Type="http://schemas.openxmlformats.org/officeDocument/2006/relationships/tags" Target="../tags/tag18.xml"/><Relationship Id="rId85" Type="http://schemas.openxmlformats.org/officeDocument/2006/relationships/tags" Target="../tags/tag23.xml"/><Relationship Id="rId150" Type="http://schemas.openxmlformats.org/officeDocument/2006/relationships/tags" Target="../tags/tag88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33" Type="http://schemas.openxmlformats.org/officeDocument/2006/relationships/slideLayout" Target="../slideLayouts/slideLayout46.xml"/><Relationship Id="rId38" Type="http://schemas.openxmlformats.org/officeDocument/2006/relationships/slideLayout" Target="../slideLayouts/slideLayout51.xml"/><Relationship Id="rId59" Type="http://schemas.openxmlformats.org/officeDocument/2006/relationships/slideLayout" Target="../slideLayouts/slideLayout72.xml"/><Relationship Id="rId103" Type="http://schemas.openxmlformats.org/officeDocument/2006/relationships/tags" Target="../tags/tag41.xml"/><Relationship Id="rId108" Type="http://schemas.openxmlformats.org/officeDocument/2006/relationships/tags" Target="../tags/tag46.xml"/><Relationship Id="rId124" Type="http://schemas.openxmlformats.org/officeDocument/2006/relationships/tags" Target="../tags/tag62.xml"/><Relationship Id="rId129" Type="http://schemas.openxmlformats.org/officeDocument/2006/relationships/tags" Target="../tags/tag67.xml"/><Relationship Id="rId54" Type="http://schemas.openxmlformats.org/officeDocument/2006/relationships/slideLayout" Target="../slideLayouts/slideLayout67.xml"/><Relationship Id="rId70" Type="http://schemas.openxmlformats.org/officeDocument/2006/relationships/tags" Target="../tags/tag8.xml"/><Relationship Id="rId75" Type="http://schemas.openxmlformats.org/officeDocument/2006/relationships/tags" Target="../tags/tag13.xml"/><Relationship Id="rId91" Type="http://schemas.openxmlformats.org/officeDocument/2006/relationships/tags" Target="../tags/tag29.xml"/><Relationship Id="rId96" Type="http://schemas.openxmlformats.org/officeDocument/2006/relationships/tags" Target="../tags/tag34.xml"/><Relationship Id="rId140" Type="http://schemas.openxmlformats.org/officeDocument/2006/relationships/tags" Target="../tags/tag78.xml"/><Relationship Id="rId145" Type="http://schemas.openxmlformats.org/officeDocument/2006/relationships/tags" Target="../tags/tag8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49" Type="http://schemas.openxmlformats.org/officeDocument/2006/relationships/slideLayout" Target="../slideLayouts/slideLayout62.xml"/><Relationship Id="rId114" Type="http://schemas.openxmlformats.org/officeDocument/2006/relationships/tags" Target="../tags/tag52.xml"/><Relationship Id="rId119" Type="http://schemas.openxmlformats.org/officeDocument/2006/relationships/tags" Target="../tags/tag57.xml"/><Relationship Id="rId44" Type="http://schemas.openxmlformats.org/officeDocument/2006/relationships/slideLayout" Target="../slideLayouts/slideLayout57.xml"/><Relationship Id="rId60" Type="http://schemas.openxmlformats.org/officeDocument/2006/relationships/slideLayout" Target="../slideLayouts/slideLayout73.xml"/><Relationship Id="rId65" Type="http://schemas.openxmlformats.org/officeDocument/2006/relationships/tags" Target="../tags/tag3.xml"/><Relationship Id="rId81" Type="http://schemas.openxmlformats.org/officeDocument/2006/relationships/tags" Target="../tags/tag19.xml"/><Relationship Id="rId86" Type="http://schemas.openxmlformats.org/officeDocument/2006/relationships/tags" Target="../tags/tag24.xml"/><Relationship Id="rId130" Type="http://schemas.openxmlformats.org/officeDocument/2006/relationships/tags" Target="../tags/tag68.xml"/><Relationship Id="rId135" Type="http://schemas.openxmlformats.org/officeDocument/2006/relationships/tags" Target="../tags/tag73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9" Type="http://schemas.openxmlformats.org/officeDocument/2006/relationships/slideLayout" Target="../slideLayouts/slideLayout52.xml"/><Relationship Id="rId109" Type="http://schemas.openxmlformats.org/officeDocument/2006/relationships/tags" Target="../tags/tag47.xml"/><Relationship Id="rId34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63.xml"/><Relationship Id="rId55" Type="http://schemas.openxmlformats.org/officeDocument/2006/relationships/slideLayout" Target="../slideLayouts/slideLayout68.xml"/><Relationship Id="rId76" Type="http://schemas.openxmlformats.org/officeDocument/2006/relationships/tags" Target="../tags/tag14.xml"/><Relationship Id="rId97" Type="http://schemas.openxmlformats.org/officeDocument/2006/relationships/tags" Target="../tags/tag35.xml"/><Relationship Id="rId104" Type="http://schemas.openxmlformats.org/officeDocument/2006/relationships/tags" Target="../tags/tag42.xml"/><Relationship Id="rId120" Type="http://schemas.openxmlformats.org/officeDocument/2006/relationships/tags" Target="../tags/tag58.xml"/><Relationship Id="rId125" Type="http://schemas.openxmlformats.org/officeDocument/2006/relationships/tags" Target="../tags/tag63.xml"/><Relationship Id="rId141" Type="http://schemas.openxmlformats.org/officeDocument/2006/relationships/tags" Target="../tags/tag79.xml"/><Relationship Id="rId146" Type="http://schemas.openxmlformats.org/officeDocument/2006/relationships/tags" Target="../tags/tag84.xml"/><Relationship Id="rId7" Type="http://schemas.openxmlformats.org/officeDocument/2006/relationships/slideLayout" Target="../slideLayouts/slideLayout20.xml"/><Relationship Id="rId71" Type="http://schemas.openxmlformats.org/officeDocument/2006/relationships/tags" Target="../tags/tag9.xml"/><Relationship Id="rId92" Type="http://schemas.openxmlformats.org/officeDocument/2006/relationships/tags" Target="../tags/tag30.xml"/><Relationship Id="rId2" Type="http://schemas.openxmlformats.org/officeDocument/2006/relationships/slideLayout" Target="../slideLayouts/slideLayout15.xml"/><Relationship Id="rId29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53.xml"/><Relationship Id="rId45" Type="http://schemas.openxmlformats.org/officeDocument/2006/relationships/slideLayout" Target="../slideLayouts/slideLayout58.xml"/><Relationship Id="rId66" Type="http://schemas.openxmlformats.org/officeDocument/2006/relationships/tags" Target="../tags/tag4.xml"/><Relationship Id="rId87" Type="http://schemas.openxmlformats.org/officeDocument/2006/relationships/tags" Target="../tags/tag25.xml"/><Relationship Id="rId110" Type="http://schemas.openxmlformats.org/officeDocument/2006/relationships/tags" Target="../tags/tag48.xml"/><Relationship Id="rId115" Type="http://schemas.openxmlformats.org/officeDocument/2006/relationships/tags" Target="../tags/tag53.xml"/><Relationship Id="rId131" Type="http://schemas.openxmlformats.org/officeDocument/2006/relationships/tags" Target="../tags/tag69.xml"/><Relationship Id="rId136" Type="http://schemas.openxmlformats.org/officeDocument/2006/relationships/tags" Target="../tags/tag74.xml"/><Relationship Id="rId61" Type="http://schemas.openxmlformats.org/officeDocument/2006/relationships/slideLayout" Target="../slideLayouts/slideLayout74.xml"/><Relationship Id="rId82" Type="http://schemas.openxmlformats.org/officeDocument/2006/relationships/tags" Target="../tags/tag20.xml"/><Relationship Id="rId1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43.xml"/><Relationship Id="rId35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69.xml"/><Relationship Id="rId77" Type="http://schemas.openxmlformats.org/officeDocument/2006/relationships/tags" Target="../tags/tag15.xml"/><Relationship Id="rId100" Type="http://schemas.openxmlformats.org/officeDocument/2006/relationships/tags" Target="../tags/tag38.xml"/><Relationship Id="rId105" Type="http://schemas.openxmlformats.org/officeDocument/2006/relationships/tags" Target="../tags/tag43.xml"/><Relationship Id="rId126" Type="http://schemas.openxmlformats.org/officeDocument/2006/relationships/tags" Target="../tags/tag64.xml"/><Relationship Id="rId147" Type="http://schemas.openxmlformats.org/officeDocument/2006/relationships/tags" Target="../tags/tag85.xml"/><Relationship Id="rId8" Type="http://schemas.openxmlformats.org/officeDocument/2006/relationships/slideLayout" Target="../slideLayouts/slideLayout21.xml"/><Relationship Id="rId51" Type="http://schemas.openxmlformats.org/officeDocument/2006/relationships/slideLayout" Target="../slideLayouts/slideLayout64.xml"/><Relationship Id="rId72" Type="http://schemas.openxmlformats.org/officeDocument/2006/relationships/tags" Target="../tags/tag10.xml"/><Relationship Id="rId93" Type="http://schemas.openxmlformats.org/officeDocument/2006/relationships/tags" Target="../tags/tag31.xml"/><Relationship Id="rId98" Type="http://schemas.openxmlformats.org/officeDocument/2006/relationships/tags" Target="../tags/tag36.xml"/><Relationship Id="rId121" Type="http://schemas.openxmlformats.org/officeDocument/2006/relationships/tags" Target="../tags/tag59.xml"/><Relationship Id="rId142" Type="http://schemas.openxmlformats.org/officeDocument/2006/relationships/tags" Target="../tags/tag80.xml"/><Relationship Id="rId3" Type="http://schemas.openxmlformats.org/officeDocument/2006/relationships/slideLayout" Target="../slideLayouts/slideLayout16.xml"/><Relationship Id="rId25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59.xml"/><Relationship Id="rId67" Type="http://schemas.openxmlformats.org/officeDocument/2006/relationships/tags" Target="../tags/tag5.xml"/><Relationship Id="rId116" Type="http://schemas.openxmlformats.org/officeDocument/2006/relationships/tags" Target="../tags/tag54.xml"/><Relationship Id="rId137" Type="http://schemas.openxmlformats.org/officeDocument/2006/relationships/tags" Target="../tags/tag75.xml"/><Relationship Id="rId20" Type="http://schemas.openxmlformats.org/officeDocument/2006/relationships/slideLayout" Target="../slideLayouts/slideLayout33.xml"/><Relationship Id="rId41" Type="http://schemas.openxmlformats.org/officeDocument/2006/relationships/slideLayout" Target="../slideLayouts/slideLayout54.xml"/><Relationship Id="rId62" Type="http://schemas.openxmlformats.org/officeDocument/2006/relationships/theme" Target="../theme/theme2.xml"/><Relationship Id="rId83" Type="http://schemas.openxmlformats.org/officeDocument/2006/relationships/tags" Target="../tags/tag21.xml"/><Relationship Id="rId88" Type="http://schemas.openxmlformats.org/officeDocument/2006/relationships/tags" Target="../tags/tag26.xml"/><Relationship Id="rId111" Type="http://schemas.openxmlformats.org/officeDocument/2006/relationships/tags" Target="../tags/tag49.xml"/><Relationship Id="rId132" Type="http://schemas.openxmlformats.org/officeDocument/2006/relationships/tags" Target="../tags/tag70.xml"/><Relationship Id="rId15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70.xml"/><Relationship Id="rId106" Type="http://schemas.openxmlformats.org/officeDocument/2006/relationships/tags" Target="../tags/tag44.xml"/><Relationship Id="rId127" Type="http://schemas.openxmlformats.org/officeDocument/2006/relationships/tags" Target="../tags/tag65.xml"/><Relationship Id="rId10" Type="http://schemas.openxmlformats.org/officeDocument/2006/relationships/slideLayout" Target="../slideLayouts/slideLayout23.xml"/><Relationship Id="rId31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65.xml"/><Relationship Id="rId73" Type="http://schemas.openxmlformats.org/officeDocument/2006/relationships/tags" Target="../tags/tag11.xml"/><Relationship Id="rId78" Type="http://schemas.openxmlformats.org/officeDocument/2006/relationships/tags" Target="../tags/tag16.xml"/><Relationship Id="rId94" Type="http://schemas.openxmlformats.org/officeDocument/2006/relationships/tags" Target="../tags/tag32.xml"/><Relationship Id="rId99" Type="http://schemas.openxmlformats.org/officeDocument/2006/relationships/tags" Target="../tags/tag37.xml"/><Relationship Id="rId101" Type="http://schemas.openxmlformats.org/officeDocument/2006/relationships/tags" Target="../tags/tag39.xml"/><Relationship Id="rId122" Type="http://schemas.openxmlformats.org/officeDocument/2006/relationships/tags" Target="../tags/tag60.xml"/><Relationship Id="rId143" Type="http://schemas.openxmlformats.org/officeDocument/2006/relationships/tags" Target="../tags/tag81.xml"/><Relationship Id="rId148" Type="http://schemas.openxmlformats.org/officeDocument/2006/relationships/tags" Target="../tags/tag86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26" Type="http://schemas.openxmlformats.org/officeDocument/2006/relationships/slideLayout" Target="../slideLayouts/slideLayout39.xml"/><Relationship Id="rId47" Type="http://schemas.openxmlformats.org/officeDocument/2006/relationships/slideLayout" Target="../slideLayouts/slideLayout60.xml"/><Relationship Id="rId68" Type="http://schemas.openxmlformats.org/officeDocument/2006/relationships/tags" Target="../tags/tag6.xml"/><Relationship Id="rId89" Type="http://schemas.openxmlformats.org/officeDocument/2006/relationships/tags" Target="../tags/tag27.xml"/><Relationship Id="rId112" Type="http://schemas.openxmlformats.org/officeDocument/2006/relationships/tags" Target="../tags/tag50.xml"/><Relationship Id="rId133" Type="http://schemas.openxmlformats.org/officeDocument/2006/relationships/tags" Target="../tags/tag71.xml"/><Relationship Id="rId16" Type="http://schemas.openxmlformats.org/officeDocument/2006/relationships/slideLayout" Target="../slideLayouts/slideLayout29.xml"/><Relationship Id="rId37" Type="http://schemas.openxmlformats.org/officeDocument/2006/relationships/slideLayout" Target="../slideLayouts/slideLayout50.xml"/><Relationship Id="rId58" Type="http://schemas.openxmlformats.org/officeDocument/2006/relationships/slideLayout" Target="../slideLayouts/slideLayout71.xml"/><Relationship Id="rId79" Type="http://schemas.openxmlformats.org/officeDocument/2006/relationships/tags" Target="../tags/tag17.xml"/><Relationship Id="rId102" Type="http://schemas.openxmlformats.org/officeDocument/2006/relationships/tags" Target="../tags/tag40.xml"/><Relationship Id="rId123" Type="http://schemas.openxmlformats.org/officeDocument/2006/relationships/tags" Target="../tags/tag61.xml"/><Relationship Id="rId144" Type="http://schemas.openxmlformats.org/officeDocument/2006/relationships/tags" Target="../tags/tag82.xml"/><Relationship Id="rId90" Type="http://schemas.openxmlformats.org/officeDocument/2006/relationships/tags" Target="../tags/tag28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00.xml"/><Relationship Id="rId117" Type="http://schemas.openxmlformats.org/officeDocument/2006/relationships/tags" Target="../tags/tag173.xml"/><Relationship Id="rId21" Type="http://schemas.openxmlformats.org/officeDocument/2006/relationships/slideLayout" Target="../slideLayouts/slideLayout95.xml"/><Relationship Id="rId42" Type="http://schemas.openxmlformats.org/officeDocument/2006/relationships/tags" Target="../tags/tag98.xml"/><Relationship Id="rId47" Type="http://schemas.openxmlformats.org/officeDocument/2006/relationships/tags" Target="../tags/tag103.xml"/><Relationship Id="rId63" Type="http://schemas.openxmlformats.org/officeDocument/2006/relationships/tags" Target="../tags/tag119.xml"/><Relationship Id="rId68" Type="http://schemas.openxmlformats.org/officeDocument/2006/relationships/tags" Target="../tags/tag124.xml"/><Relationship Id="rId84" Type="http://schemas.openxmlformats.org/officeDocument/2006/relationships/tags" Target="../tags/tag140.xml"/><Relationship Id="rId89" Type="http://schemas.openxmlformats.org/officeDocument/2006/relationships/tags" Target="../tags/tag145.xml"/><Relationship Id="rId112" Type="http://schemas.openxmlformats.org/officeDocument/2006/relationships/tags" Target="../tags/tag168.xml"/><Relationship Id="rId16" Type="http://schemas.openxmlformats.org/officeDocument/2006/relationships/slideLayout" Target="../slideLayouts/slideLayout90.xml"/><Relationship Id="rId107" Type="http://schemas.openxmlformats.org/officeDocument/2006/relationships/tags" Target="../tags/tag163.xml"/><Relationship Id="rId11" Type="http://schemas.openxmlformats.org/officeDocument/2006/relationships/slideLayout" Target="../slideLayouts/slideLayout85.xml"/><Relationship Id="rId32" Type="http://schemas.openxmlformats.org/officeDocument/2006/relationships/slideLayout" Target="../slideLayouts/slideLayout106.xml"/><Relationship Id="rId37" Type="http://schemas.openxmlformats.org/officeDocument/2006/relationships/tags" Target="../tags/tag93.xml"/><Relationship Id="rId53" Type="http://schemas.openxmlformats.org/officeDocument/2006/relationships/tags" Target="../tags/tag109.xml"/><Relationship Id="rId58" Type="http://schemas.openxmlformats.org/officeDocument/2006/relationships/tags" Target="../tags/tag114.xml"/><Relationship Id="rId74" Type="http://schemas.openxmlformats.org/officeDocument/2006/relationships/tags" Target="../tags/tag130.xml"/><Relationship Id="rId79" Type="http://schemas.openxmlformats.org/officeDocument/2006/relationships/tags" Target="../tags/tag135.xml"/><Relationship Id="rId102" Type="http://schemas.openxmlformats.org/officeDocument/2006/relationships/tags" Target="../tags/tag158.xml"/><Relationship Id="rId123" Type="http://schemas.openxmlformats.org/officeDocument/2006/relationships/tags" Target="../tags/tag179.xml"/><Relationship Id="rId5" Type="http://schemas.openxmlformats.org/officeDocument/2006/relationships/slideLayout" Target="../slideLayouts/slideLayout79.xml"/><Relationship Id="rId90" Type="http://schemas.openxmlformats.org/officeDocument/2006/relationships/tags" Target="../tags/tag146.xml"/><Relationship Id="rId95" Type="http://schemas.openxmlformats.org/officeDocument/2006/relationships/tags" Target="../tags/tag151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43" Type="http://schemas.openxmlformats.org/officeDocument/2006/relationships/tags" Target="../tags/tag99.xml"/><Relationship Id="rId48" Type="http://schemas.openxmlformats.org/officeDocument/2006/relationships/tags" Target="../tags/tag104.xml"/><Relationship Id="rId64" Type="http://schemas.openxmlformats.org/officeDocument/2006/relationships/tags" Target="../tags/tag120.xml"/><Relationship Id="rId69" Type="http://schemas.openxmlformats.org/officeDocument/2006/relationships/tags" Target="../tags/tag125.xml"/><Relationship Id="rId113" Type="http://schemas.openxmlformats.org/officeDocument/2006/relationships/tags" Target="../tags/tag169.xml"/><Relationship Id="rId118" Type="http://schemas.openxmlformats.org/officeDocument/2006/relationships/tags" Target="../tags/tag174.xml"/><Relationship Id="rId80" Type="http://schemas.openxmlformats.org/officeDocument/2006/relationships/tags" Target="../tags/tag136.xml"/><Relationship Id="rId85" Type="http://schemas.openxmlformats.org/officeDocument/2006/relationships/tags" Target="../tags/tag14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33" Type="http://schemas.openxmlformats.org/officeDocument/2006/relationships/slideLayout" Target="../slideLayouts/slideLayout107.xml"/><Relationship Id="rId38" Type="http://schemas.openxmlformats.org/officeDocument/2006/relationships/tags" Target="../tags/tag94.xml"/><Relationship Id="rId59" Type="http://schemas.openxmlformats.org/officeDocument/2006/relationships/tags" Target="../tags/tag115.xml"/><Relationship Id="rId103" Type="http://schemas.openxmlformats.org/officeDocument/2006/relationships/tags" Target="../tags/tag159.xml"/><Relationship Id="rId108" Type="http://schemas.openxmlformats.org/officeDocument/2006/relationships/tags" Target="../tags/tag164.xml"/><Relationship Id="rId124" Type="http://schemas.openxmlformats.org/officeDocument/2006/relationships/tags" Target="../tags/tag180.xml"/><Relationship Id="rId54" Type="http://schemas.openxmlformats.org/officeDocument/2006/relationships/tags" Target="../tags/tag110.xml"/><Relationship Id="rId70" Type="http://schemas.openxmlformats.org/officeDocument/2006/relationships/tags" Target="../tags/tag126.xml"/><Relationship Id="rId75" Type="http://schemas.openxmlformats.org/officeDocument/2006/relationships/tags" Target="../tags/tag131.xml"/><Relationship Id="rId91" Type="http://schemas.openxmlformats.org/officeDocument/2006/relationships/tags" Target="../tags/tag147.xml"/><Relationship Id="rId96" Type="http://schemas.openxmlformats.org/officeDocument/2006/relationships/tags" Target="../tags/tag152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49" Type="http://schemas.openxmlformats.org/officeDocument/2006/relationships/tags" Target="../tags/tag105.xml"/><Relationship Id="rId114" Type="http://schemas.openxmlformats.org/officeDocument/2006/relationships/tags" Target="../tags/tag170.xml"/><Relationship Id="rId119" Type="http://schemas.openxmlformats.org/officeDocument/2006/relationships/tags" Target="../tags/tag175.xml"/><Relationship Id="rId44" Type="http://schemas.openxmlformats.org/officeDocument/2006/relationships/tags" Target="../tags/tag100.xml"/><Relationship Id="rId60" Type="http://schemas.openxmlformats.org/officeDocument/2006/relationships/tags" Target="../tags/tag116.xml"/><Relationship Id="rId65" Type="http://schemas.openxmlformats.org/officeDocument/2006/relationships/tags" Target="../tags/tag121.xml"/><Relationship Id="rId81" Type="http://schemas.openxmlformats.org/officeDocument/2006/relationships/tags" Target="../tags/tag137.xml"/><Relationship Id="rId86" Type="http://schemas.openxmlformats.org/officeDocument/2006/relationships/tags" Target="../tags/tag142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39" Type="http://schemas.openxmlformats.org/officeDocument/2006/relationships/tags" Target="../tags/tag95.xml"/><Relationship Id="rId109" Type="http://schemas.openxmlformats.org/officeDocument/2006/relationships/tags" Target="../tags/tag165.xml"/><Relationship Id="rId34" Type="http://schemas.openxmlformats.org/officeDocument/2006/relationships/slideLayout" Target="../slideLayouts/slideLayout108.xml"/><Relationship Id="rId50" Type="http://schemas.openxmlformats.org/officeDocument/2006/relationships/tags" Target="../tags/tag106.xml"/><Relationship Id="rId55" Type="http://schemas.openxmlformats.org/officeDocument/2006/relationships/tags" Target="../tags/tag111.xml"/><Relationship Id="rId76" Type="http://schemas.openxmlformats.org/officeDocument/2006/relationships/tags" Target="../tags/tag132.xml"/><Relationship Id="rId97" Type="http://schemas.openxmlformats.org/officeDocument/2006/relationships/tags" Target="../tags/tag153.xml"/><Relationship Id="rId104" Type="http://schemas.openxmlformats.org/officeDocument/2006/relationships/tags" Target="../tags/tag160.xml"/><Relationship Id="rId120" Type="http://schemas.openxmlformats.org/officeDocument/2006/relationships/tags" Target="../tags/tag176.xml"/><Relationship Id="rId7" Type="http://schemas.openxmlformats.org/officeDocument/2006/relationships/slideLayout" Target="../slideLayouts/slideLayout81.xml"/><Relationship Id="rId71" Type="http://schemas.openxmlformats.org/officeDocument/2006/relationships/tags" Target="../tags/tag127.xml"/><Relationship Id="rId92" Type="http://schemas.openxmlformats.org/officeDocument/2006/relationships/tags" Target="../tags/tag148.xml"/><Relationship Id="rId2" Type="http://schemas.openxmlformats.org/officeDocument/2006/relationships/slideLayout" Target="../slideLayouts/slideLayout76.xml"/><Relationship Id="rId29" Type="http://schemas.openxmlformats.org/officeDocument/2006/relationships/slideLayout" Target="../slideLayouts/slideLayout103.xml"/><Relationship Id="rId24" Type="http://schemas.openxmlformats.org/officeDocument/2006/relationships/slideLayout" Target="../slideLayouts/slideLayout98.xml"/><Relationship Id="rId40" Type="http://schemas.openxmlformats.org/officeDocument/2006/relationships/tags" Target="../tags/tag96.xml"/><Relationship Id="rId45" Type="http://schemas.openxmlformats.org/officeDocument/2006/relationships/tags" Target="../tags/tag101.xml"/><Relationship Id="rId66" Type="http://schemas.openxmlformats.org/officeDocument/2006/relationships/tags" Target="../tags/tag122.xml"/><Relationship Id="rId87" Type="http://schemas.openxmlformats.org/officeDocument/2006/relationships/tags" Target="../tags/tag143.xml"/><Relationship Id="rId110" Type="http://schemas.openxmlformats.org/officeDocument/2006/relationships/tags" Target="../tags/tag166.xml"/><Relationship Id="rId115" Type="http://schemas.openxmlformats.org/officeDocument/2006/relationships/tags" Target="../tags/tag171.xml"/><Relationship Id="rId61" Type="http://schemas.openxmlformats.org/officeDocument/2006/relationships/tags" Target="../tags/tag117.xml"/><Relationship Id="rId82" Type="http://schemas.openxmlformats.org/officeDocument/2006/relationships/tags" Target="../tags/tag138.xml"/><Relationship Id="rId1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88.xml"/><Relationship Id="rId30" Type="http://schemas.openxmlformats.org/officeDocument/2006/relationships/slideLayout" Target="../slideLayouts/slideLayout104.xml"/><Relationship Id="rId35" Type="http://schemas.openxmlformats.org/officeDocument/2006/relationships/slideLayout" Target="../slideLayouts/slideLayout109.xml"/><Relationship Id="rId56" Type="http://schemas.openxmlformats.org/officeDocument/2006/relationships/tags" Target="../tags/tag112.xml"/><Relationship Id="rId77" Type="http://schemas.openxmlformats.org/officeDocument/2006/relationships/tags" Target="../tags/tag133.xml"/><Relationship Id="rId100" Type="http://schemas.openxmlformats.org/officeDocument/2006/relationships/tags" Target="../tags/tag156.xml"/><Relationship Id="rId105" Type="http://schemas.openxmlformats.org/officeDocument/2006/relationships/tags" Target="../tags/tag161.xml"/><Relationship Id="rId8" Type="http://schemas.openxmlformats.org/officeDocument/2006/relationships/slideLayout" Target="../slideLayouts/slideLayout82.xml"/><Relationship Id="rId51" Type="http://schemas.openxmlformats.org/officeDocument/2006/relationships/tags" Target="../tags/tag107.xml"/><Relationship Id="rId72" Type="http://schemas.openxmlformats.org/officeDocument/2006/relationships/tags" Target="../tags/tag128.xml"/><Relationship Id="rId93" Type="http://schemas.openxmlformats.org/officeDocument/2006/relationships/tags" Target="../tags/tag149.xml"/><Relationship Id="rId98" Type="http://schemas.openxmlformats.org/officeDocument/2006/relationships/tags" Target="../tags/tag154.xml"/><Relationship Id="rId121" Type="http://schemas.openxmlformats.org/officeDocument/2006/relationships/tags" Target="../tags/tag177.xml"/><Relationship Id="rId3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99.xml"/><Relationship Id="rId46" Type="http://schemas.openxmlformats.org/officeDocument/2006/relationships/tags" Target="../tags/tag102.xml"/><Relationship Id="rId67" Type="http://schemas.openxmlformats.org/officeDocument/2006/relationships/tags" Target="../tags/tag123.xml"/><Relationship Id="rId116" Type="http://schemas.openxmlformats.org/officeDocument/2006/relationships/tags" Target="../tags/tag172.xml"/><Relationship Id="rId20" Type="http://schemas.openxmlformats.org/officeDocument/2006/relationships/slideLayout" Target="../slideLayouts/slideLayout94.xml"/><Relationship Id="rId41" Type="http://schemas.openxmlformats.org/officeDocument/2006/relationships/tags" Target="../tags/tag97.xml"/><Relationship Id="rId62" Type="http://schemas.openxmlformats.org/officeDocument/2006/relationships/tags" Target="../tags/tag118.xml"/><Relationship Id="rId83" Type="http://schemas.openxmlformats.org/officeDocument/2006/relationships/tags" Target="../tags/tag139.xml"/><Relationship Id="rId88" Type="http://schemas.openxmlformats.org/officeDocument/2006/relationships/tags" Target="../tags/tag144.xml"/><Relationship Id="rId111" Type="http://schemas.openxmlformats.org/officeDocument/2006/relationships/tags" Target="../tags/tag167.xml"/><Relationship Id="rId15" Type="http://schemas.openxmlformats.org/officeDocument/2006/relationships/slideLayout" Target="../slideLayouts/slideLayout89.xml"/><Relationship Id="rId36" Type="http://schemas.openxmlformats.org/officeDocument/2006/relationships/theme" Target="../theme/theme3.xml"/><Relationship Id="rId57" Type="http://schemas.openxmlformats.org/officeDocument/2006/relationships/tags" Target="../tags/tag113.xml"/><Relationship Id="rId106" Type="http://schemas.openxmlformats.org/officeDocument/2006/relationships/tags" Target="../tags/tag162.xml"/><Relationship Id="rId10" Type="http://schemas.openxmlformats.org/officeDocument/2006/relationships/slideLayout" Target="../slideLayouts/slideLayout84.xml"/><Relationship Id="rId31" Type="http://schemas.openxmlformats.org/officeDocument/2006/relationships/slideLayout" Target="../slideLayouts/slideLayout105.xml"/><Relationship Id="rId52" Type="http://schemas.openxmlformats.org/officeDocument/2006/relationships/tags" Target="../tags/tag108.xml"/><Relationship Id="rId73" Type="http://schemas.openxmlformats.org/officeDocument/2006/relationships/tags" Target="../tags/tag129.xml"/><Relationship Id="rId78" Type="http://schemas.openxmlformats.org/officeDocument/2006/relationships/tags" Target="../tags/tag134.xml"/><Relationship Id="rId94" Type="http://schemas.openxmlformats.org/officeDocument/2006/relationships/tags" Target="../tags/tag150.xml"/><Relationship Id="rId99" Type="http://schemas.openxmlformats.org/officeDocument/2006/relationships/tags" Target="../tags/tag155.xml"/><Relationship Id="rId101" Type="http://schemas.openxmlformats.org/officeDocument/2006/relationships/tags" Target="../tags/tag157.xml"/><Relationship Id="rId122" Type="http://schemas.openxmlformats.org/officeDocument/2006/relationships/tags" Target="../tags/tag178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tags" Target="../tags/tag199.xml"/><Relationship Id="rId21" Type="http://schemas.openxmlformats.org/officeDocument/2006/relationships/tags" Target="../tags/tag194.xml"/><Relationship Id="rId42" Type="http://schemas.openxmlformats.org/officeDocument/2006/relationships/tags" Target="../tags/tag215.xml"/><Relationship Id="rId47" Type="http://schemas.openxmlformats.org/officeDocument/2006/relationships/tags" Target="../tags/tag220.xml"/><Relationship Id="rId63" Type="http://schemas.openxmlformats.org/officeDocument/2006/relationships/tags" Target="../tags/tag236.xml"/><Relationship Id="rId68" Type="http://schemas.openxmlformats.org/officeDocument/2006/relationships/tags" Target="../tags/tag241.xml"/><Relationship Id="rId84" Type="http://schemas.openxmlformats.org/officeDocument/2006/relationships/tags" Target="../tags/tag257.xml"/><Relationship Id="rId89" Type="http://schemas.openxmlformats.org/officeDocument/2006/relationships/tags" Target="../tags/tag262.xml"/><Relationship Id="rId16" Type="http://schemas.openxmlformats.org/officeDocument/2006/relationships/tags" Target="../tags/tag189.xml"/><Relationship Id="rId11" Type="http://schemas.openxmlformats.org/officeDocument/2006/relationships/tags" Target="../tags/tag184.xml"/><Relationship Id="rId32" Type="http://schemas.openxmlformats.org/officeDocument/2006/relationships/tags" Target="../tags/tag205.xml"/><Relationship Id="rId37" Type="http://schemas.openxmlformats.org/officeDocument/2006/relationships/tags" Target="../tags/tag210.xml"/><Relationship Id="rId53" Type="http://schemas.openxmlformats.org/officeDocument/2006/relationships/tags" Target="../tags/tag226.xml"/><Relationship Id="rId58" Type="http://schemas.openxmlformats.org/officeDocument/2006/relationships/tags" Target="../tags/tag231.xml"/><Relationship Id="rId74" Type="http://schemas.openxmlformats.org/officeDocument/2006/relationships/tags" Target="../tags/tag247.xml"/><Relationship Id="rId79" Type="http://schemas.openxmlformats.org/officeDocument/2006/relationships/tags" Target="../tags/tag252.xml"/><Relationship Id="rId5" Type="http://schemas.openxmlformats.org/officeDocument/2006/relationships/slideLayout" Target="../slideLayouts/slideLayout114.xml"/><Relationship Id="rId90" Type="http://schemas.openxmlformats.org/officeDocument/2006/relationships/tags" Target="../tags/tag263.xml"/><Relationship Id="rId95" Type="http://schemas.openxmlformats.org/officeDocument/2006/relationships/tags" Target="../tags/tag268.xml"/><Relationship Id="rId22" Type="http://schemas.openxmlformats.org/officeDocument/2006/relationships/tags" Target="../tags/tag195.xml"/><Relationship Id="rId27" Type="http://schemas.openxmlformats.org/officeDocument/2006/relationships/tags" Target="../tags/tag200.xml"/><Relationship Id="rId43" Type="http://schemas.openxmlformats.org/officeDocument/2006/relationships/tags" Target="../tags/tag216.xml"/><Relationship Id="rId48" Type="http://schemas.openxmlformats.org/officeDocument/2006/relationships/tags" Target="../tags/tag221.xml"/><Relationship Id="rId64" Type="http://schemas.openxmlformats.org/officeDocument/2006/relationships/tags" Target="../tags/tag237.xml"/><Relationship Id="rId69" Type="http://schemas.openxmlformats.org/officeDocument/2006/relationships/tags" Target="../tags/tag242.xml"/><Relationship Id="rId8" Type="http://schemas.openxmlformats.org/officeDocument/2006/relationships/tags" Target="../tags/tag181.xml"/><Relationship Id="rId51" Type="http://schemas.openxmlformats.org/officeDocument/2006/relationships/tags" Target="../tags/tag224.xml"/><Relationship Id="rId72" Type="http://schemas.openxmlformats.org/officeDocument/2006/relationships/tags" Target="../tags/tag245.xml"/><Relationship Id="rId80" Type="http://schemas.openxmlformats.org/officeDocument/2006/relationships/tags" Target="../tags/tag253.xml"/><Relationship Id="rId85" Type="http://schemas.openxmlformats.org/officeDocument/2006/relationships/tags" Target="../tags/tag258.xml"/><Relationship Id="rId93" Type="http://schemas.openxmlformats.org/officeDocument/2006/relationships/tags" Target="../tags/tag266.xml"/><Relationship Id="rId3" Type="http://schemas.openxmlformats.org/officeDocument/2006/relationships/slideLayout" Target="../slideLayouts/slideLayout112.xml"/><Relationship Id="rId12" Type="http://schemas.openxmlformats.org/officeDocument/2006/relationships/tags" Target="../tags/tag185.xml"/><Relationship Id="rId17" Type="http://schemas.openxmlformats.org/officeDocument/2006/relationships/tags" Target="../tags/tag190.xml"/><Relationship Id="rId25" Type="http://schemas.openxmlformats.org/officeDocument/2006/relationships/tags" Target="../tags/tag198.xml"/><Relationship Id="rId33" Type="http://schemas.openxmlformats.org/officeDocument/2006/relationships/tags" Target="../tags/tag206.xml"/><Relationship Id="rId38" Type="http://schemas.openxmlformats.org/officeDocument/2006/relationships/tags" Target="../tags/tag211.xml"/><Relationship Id="rId46" Type="http://schemas.openxmlformats.org/officeDocument/2006/relationships/tags" Target="../tags/tag219.xml"/><Relationship Id="rId59" Type="http://schemas.openxmlformats.org/officeDocument/2006/relationships/tags" Target="../tags/tag232.xml"/><Relationship Id="rId67" Type="http://schemas.openxmlformats.org/officeDocument/2006/relationships/tags" Target="../tags/tag240.xml"/><Relationship Id="rId20" Type="http://schemas.openxmlformats.org/officeDocument/2006/relationships/tags" Target="../tags/tag193.xml"/><Relationship Id="rId41" Type="http://schemas.openxmlformats.org/officeDocument/2006/relationships/tags" Target="../tags/tag214.xml"/><Relationship Id="rId54" Type="http://schemas.openxmlformats.org/officeDocument/2006/relationships/tags" Target="../tags/tag227.xml"/><Relationship Id="rId62" Type="http://schemas.openxmlformats.org/officeDocument/2006/relationships/tags" Target="../tags/tag235.xml"/><Relationship Id="rId70" Type="http://schemas.openxmlformats.org/officeDocument/2006/relationships/tags" Target="../tags/tag243.xml"/><Relationship Id="rId75" Type="http://schemas.openxmlformats.org/officeDocument/2006/relationships/tags" Target="../tags/tag248.xml"/><Relationship Id="rId83" Type="http://schemas.openxmlformats.org/officeDocument/2006/relationships/tags" Target="../tags/tag256.xml"/><Relationship Id="rId88" Type="http://schemas.openxmlformats.org/officeDocument/2006/relationships/tags" Target="../tags/tag261.xml"/><Relationship Id="rId91" Type="http://schemas.openxmlformats.org/officeDocument/2006/relationships/tags" Target="../tags/tag264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5" Type="http://schemas.openxmlformats.org/officeDocument/2006/relationships/tags" Target="../tags/tag188.xml"/><Relationship Id="rId23" Type="http://schemas.openxmlformats.org/officeDocument/2006/relationships/tags" Target="../tags/tag196.xml"/><Relationship Id="rId28" Type="http://schemas.openxmlformats.org/officeDocument/2006/relationships/tags" Target="../tags/tag201.xml"/><Relationship Id="rId36" Type="http://schemas.openxmlformats.org/officeDocument/2006/relationships/tags" Target="../tags/tag209.xml"/><Relationship Id="rId49" Type="http://schemas.openxmlformats.org/officeDocument/2006/relationships/tags" Target="../tags/tag222.xml"/><Relationship Id="rId57" Type="http://schemas.openxmlformats.org/officeDocument/2006/relationships/tags" Target="../tags/tag230.xml"/><Relationship Id="rId10" Type="http://schemas.openxmlformats.org/officeDocument/2006/relationships/tags" Target="../tags/tag183.xml"/><Relationship Id="rId31" Type="http://schemas.openxmlformats.org/officeDocument/2006/relationships/tags" Target="../tags/tag204.xml"/><Relationship Id="rId44" Type="http://schemas.openxmlformats.org/officeDocument/2006/relationships/tags" Target="../tags/tag217.xml"/><Relationship Id="rId52" Type="http://schemas.openxmlformats.org/officeDocument/2006/relationships/tags" Target="../tags/tag225.xml"/><Relationship Id="rId60" Type="http://schemas.openxmlformats.org/officeDocument/2006/relationships/tags" Target="../tags/tag233.xml"/><Relationship Id="rId65" Type="http://schemas.openxmlformats.org/officeDocument/2006/relationships/tags" Target="../tags/tag238.xml"/><Relationship Id="rId73" Type="http://schemas.openxmlformats.org/officeDocument/2006/relationships/tags" Target="../tags/tag246.xml"/><Relationship Id="rId78" Type="http://schemas.openxmlformats.org/officeDocument/2006/relationships/tags" Target="../tags/tag251.xml"/><Relationship Id="rId81" Type="http://schemas.openxmlformats.org/officeDocument/2006/relationships/tags" Target="../tags/tag254.xml"/><Relationship Id="rId86" Type="http://schemas.openxmlformats.org/officeDocument/2006/relationships/tags" Target="../tags/tag259.xml"/><Relationship Id="rId94" Type="http://schemas.openxmlformats.org/officeDocument/2006/relationships/tags" Target="../tags/tag267.xml"/><Relationship Id="rId4" Type="http://schemas.openxmlformats.org/officeDocument/2006/relationships/slideLayout" Target="../slideLayouts/slideLayout113.xml"/><Relationship Id="rId9" Type="http://schemas.openxmlformats.org/officeDocument/2006/relationships/tags" Target="../tags/tag182.xml"/><Relationship Id="rId13" Type="http://schemas.openxmlformats.org/officeDocument/2006/relationships/tags" Target="../tags/tag186.xml"/><Relationship Id="rId18" Type="http://schemas.openxmlformats.org/officeDocument/2006/relationships/tags" Target="../tags/tag191.xml"/><Relationship Id="rId39" Type="http://schemas.openxmlformats.org/officeDocument/2006/relationships/tags" Target="../tags/tag212.xml"/><Relationship Id="rId34" Type="http://schemas.openxmlformats.org/officeDocument/2006/relationships/tags" Target="../tags/tag207.xml"/><Relationship Id="rId50" Type="http://schemas.openxmlformats.org/officeDocument/2006/relationships/tags" Target="../tags/tag223.xml"/><Relationship Id="rId55" Type="http://schemas.openxmlformats.org/officeDocument/2006/relationships/tags" Target="../tags/tag228.xml"/><Relationship Id="rId76" Type="http://schemas.openxmlformats.org/officeDocument/2006/relationships/tags" Target="../tags/tag249.xml"/><Relationship Id="rId7" Type="http://schemas.openxmlformats.org/officeDocument/2006/relationships/theme" Target="../theme/theme4.xml"/><Relationship Id="rId71" Type="http://schemas.openxmlformats.org/officeDocument/2006/relationships/tags" Target="../tags/tag244.xml"/><Relationship Id="rId92" Type="http://schemas.openxmlformats.org/officeDocument/2006/relationships/tags" Target="../tags/tag265.xml"/><Relationship Id="rId2" Type="http://schemas.openxmlformats.org/officeDocument/2006/relationships/slideLayout" Target="../slideLayouts/slideLayout111.xml"/><Relationship Id="rId29" Type="http://schemas.openxmlformats.org/officeDocument/2006/relationships/tags" Target="../tags/tag202.xml"/><Relationship Id="rId24" Type="http://schemas.openxmlformats.org/officeDocument/2006/relationships/tags" Target="../tags/tag197.xml"/><Relationship Id="rId40" Type="http://schemas.openxmlformats.org/officeDocument/2006/relationships/tags" Target="../tags/tag213.xml"/><Relationship Id="rId45" Type="http://schemas.openxmlformats.org/officeDocument/2006/relationships/tags" Target="../tags/tag218.xml"/><Relationship Id="rId66" Type="http://schemas.openxmlformats.org/officeDocument/2006/relationships/tags" Target="../tags/tag239.xml"/><Relationship Id="rId87" Type="http://schemas.openxmlformats.org/officeDocument/2006/relationships/tags" Target="../tags/tag260.xml"/><Relationship Id="rId61" Type="http://schemas.openxmlformats.org/officeDocument/2006/relationships/tags" Target="../tags/tag234.xml"/><Relationship Id="rId82" Type="http://schemas.openxmlformats.org/officeDocument/2006/relationships/tags" Target="../tags/tag255.xml"/><Relationship Id="rId19" Type="http://schemas.openxmlformats.org/officeDocument/2006/relationships/tags" Target="../tags/tag192.xml"/><Relationship Id="rId14" Type="http://schemas.openxmlformats.org/officeDocument/2006/relationships/tags" Target="../tags/tag187.xml"/><Relationship Id="rId30" Type="http://schemas.openxmlformats.org/officeDocument/2006/relationships/tags" Target="../tags/tag203.xml"/><Relationship Id="rId35" Type="http://schemas.openxmlformats.org/officeDocument/2006/relationships/tags" Target="../tags/tag208.xml"/><Relationship Id="rId56" Type="http://schemas.openxmlformats.org/officeDocument/2006/relationships/tags" Target="../tags/tag229.xml"/><Relationship Id="rId77" Type="http://schemas.openxmlformats.org/officeDocument/2006/relationships/tags" Target="../tags/tag250.xml"/></Relationships>
</file>

<file path=ppt/slideMasters/_rels/slideMaster5.xml.rels><?xml version="1.0" encoding="UTF-8" standalone="yes"?>
<Relationships xmlns="http://schemas.openxmlformats.org/package/2006/relationships"><Relationship Id="rId117" Type="http://schemas.openxmlformats.org/officeDocument/2006/relationships/tags" Target="../tags/tag344.xml"/><Relationship Id="rId21" Type="http://schemas.openxmlformats.org/officeDocument/2006/relationships/slideLayout" Target="../slideLayouts/slideLayout136.xml"/><Relationship Id="rId42" Type="http://schemas.openxmlformats.org/officeDocument/2006/relationships/tags" Target="../tags/tag269.xml"/><Relationship Id="rId47" Type="http://schemas.openxmlformats.org/officeDocument/2006/relationships/tags" Target="../tags/tag274.xml"/><Relationship Id="rId63" Type="http://schemas.openxmlformats.org/officeDocument/2006/relationships/tags" Target="../tags/tag290.xml"/><Relationship Id="rId68" Type="http://schemas.openxmlformats.org/officeDocument/2006/relationships/tags" Target="../tags/tag295.xml"/><Relationship Id="rId84" Type="http://schemas.openxmlformats.org/officeDocument/2006/relationships/tags" Target="../tags/tag311.xml"/><Relationship Id="rId89" Type="http://schemas.openxmlformats.org/officeDocument/2006/relationships/tags" Target="../tags/tag316.xml"/><Relationship Id="rId112" Type="http://schemas.openxmlformats.org/officeDocument/2006/relationships/tags" Target="../tags/tag339.xml"/><Relationship Id="rId16" Type="http://schemas.openxmlformats.org/officeDocument/2006/relationships/slideLayout" Target="../slideLayouts/slideLayout131.xml"/><Relationship Id="rId107" Type="http://schemas.openxmlformats.org/officeDocument/2006/relationships/tags" Target="../tags/tag334.xml"/><Relationship Id="rId11" Type="http://schemas.openxmlformats.org/officeDocument/2006/relationships/slideLayout" Target="../slideLayouts/slideLayout126.xml"/><Relationship Id="rId32" Type="http://schemas.openxmlformats.org/officeDocument/2006/relationships/slideLayout" Target="../slideLayouts/slideLayout147.xml"/><Relationship Id="rId37" Type="http://schemas.openxmlformats.org/officeDocument/2006/relationships/slideLayout" Target="../slideLayouts/slideLayout152.xml"/><Relationship Id="rId53" Type="http://schemas.openxmlformats.org/officeDocument/2006/relationships/tags" Target="../tags/tag280.xml"/><Relationship Id="rId58" Type="http://schemas.openxmlformats.org/officeDocument/2006/relationships/tags" Target="../tags/tag285.xml"/><Relationship Id="rId74" Type="http://schemas.openxmlformats.org/officeDocument/2006/relationships/tags" Target="../tags/tag301.xml"/><Relationship Id="rId79" Type="http://schemas.openxmlformats.org/officeDocument/2006/relationships/tags" Target="../tags/tag306.xml"/><Relationship Id="rId102" Type="http://schemas.openxmlformats.org/officeDocument/2006/relationships/tags" Target="../tags/tag329.xml"/><Relationship Id="rId123" Type="http://schemas.openxmlformats.org/officeDocument/2006/relationships/tags" Target="../tags/tag350.xml"/><Relationship Id="rId128" Type="http://schemas.openxmlformats.org/officeDocument/2006/relationships/tags" Target="../tags/tag355.xml"/><Relationship Id="rId5" Type="http://schemas.openxmlformats.org/officeDocument/2006/relationships/slideLayout" Target="../slideLayouts/slideLayout120.xml"/><Relationship Id="rId90" Type="http://schemas.openxmlformats.org/officeDocument/2006/relationships/tags" Target="../tags/tag317.xml"/><Relationship Id="rId95" Type="http://schemas.openxmlformats.org/officeDocument/2006/relationships/tags" Target="../tags/tag322.xml"/><Relationship Id="rId22" Type="http://schemas.openxmlformats.org/officeDocument/2006/relationships/slideLayout" Target="../slideLayouts/slideLayout137.xml"/><Relationship Id="rId27" Type="http://schemas.openxmlformats.org/officeDocument/2006/relationships/slideLayout" Target="../slideLayouts/slideLayout142.xml"/><Relationship Id="rId43" Type="http://schemas.openxmlformats.org/officeDocument/2006/relationships/tags" Target="../tags/tag270.xml"/><Relationship Id="rId48" Type="http://schemas.openxmlformats.org/officeDocument/2006/relationships/tags" Target="../tags/tag275.xml"/><Relationship Id="rId64" Type="http://schemas.openxmlformats.org/officeDocument/2006/relationships/tags" Target="../tags/tag291.xml"/><Relationship Id="rId69" Type="http://schemas.openxmlformats.org/officeDocument/2006/relationships/tags" Target="../tags/tag296.xml"/><Relationship Id="rId113" Type="http://schemas.openxmlformats.org/officeDocument/2006/relationships/tags" Target="../tags/tag340.xml"/><Relationship Id="rId118" Type="http://schemas.openxmlformats.org/officeDocument/2006/relationships/tags" Target="../tags/tag345.xml"/><Relationship Id="rId80" Type="http://schemas.openxmlformats.org/officeDocument/2006/relationships/tags" Target="../tags/tag307.xml"/><Relationship Id="rId85" Type="http://schemas.openxmlformats.org/officeDocument/2006/relationships/tags" Target="../tags/tag31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33" Type="http://schemas.openxmlformats.org/officeDocument/2006/relationships/slideLayout" Target="../slideLayouts/slideLayout148.xml"/><Relationship Id="rId38" Type="http://schemas.openxmlformats.org/officeDocument/2006/relationships/slideLayout" Target="../slideLayouts/slideLayout153.xml"/><Relationship Id="rId59" Type="http://schemas.openxmlformats.org/officeDocument/2006/relationships/tags" Target="../tags/tag286.xml"/><Relationship Id="rId103" Type="http://schemas.openxmlformats.org/officeDocument/2006/relationships/tags" Target="../tags/tag330.xml"/><Relationship Id="rId108" Type="http://schemas.openxmlformats.org/officeDocument/2006/relationships/tags" Target="../tags/tag335.xml"/><Relationship Id="rId124" Type="http://schemas.openxmlformats.org/officeDocument/2006/relationships/tags" Target="../tags/tag351.xml"/><Relationship Id="rId129" Type="http://schemas.openxmlformats.org/officeDocument/2006/relationships/tags" Target="../tags/tag356.xml"/><Relationship Id="rId54" Type="http://schemas.openxmlformats.org/officeDocument/2006/relationships/tags" Target="../tags/tag281.xml"/><Relationship Id="rId70" Type="http://schemas.openxmlformats.org/officeDocument/2006/relationships/tags" Target="../tags/tag297.xml"/><Relationship Id="rId75" Type="http://schemas.openxmlformats.org/officeDocument/2006/relationships/tags" Target="../tags/tag302.xml"/><Relationship Id="rId91" Type="http://schemas.openxmlformats.org/officeDocument/2006/relationships/tags" Target="../tags/tag318.xml"/><Relationship Id="rId96" Type="http://schemas.openxmlformats.org/officeDocument/2006/relationships/tags" Target="../tags/tag323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23" Type="http://schemas.openxmlformats.org/officeDocument/2006/relationships/slideLayout" Target="../slideLayouts/slideLayout138.xml"/><Relationship Id="rId28" Type="http://schemas.openxmlformats.org/officeDocument/2006/relationships/slideLayout" Target="../slideLayouts/slideLayout143.xml"/><Relationship Id="rId49" Type="http://schemas.openxmlformats.org/officeDocument/2006/relationships/tags" Target="../tags/tag276.xml"/><Relationship Id="rId114" Type="http://schemas.openxmlformats.org/officeDocument/2006/relationships/tags" Target="../tags/tag341.xml"/><Relationship Id="rId119" Type="http://schemas.openxmlformats.org/officeDocument/2006/relationships/tags" Target="../tags/tag346.xml"/><Relationship Id="rId44" Type="http://schemas.openxmlformats.org/officeDocument/2006/relationships/tags" Target="../tags/tag271.xml"/><Relationship Id="rId60" Type="http://schemas.openxmlformats.org/officeDocument/2006/relationships/tags" Target="../tags/tag287.xml"/><Relationship Id="rId65" Type="http://schemas.openxmlformats.org/officeDocument/2006/relationships/tags" Target="../tags/tag292.xml"/><Relationship Id="rId81" Type="http://schemas.openxmlformats.org/officeDocument/2006/relationships/tags" Target="../tags/tag308.xml"/><Relationship Id="rId86" Type="http://schemas.openxmlformats.org/officeDocument/2006/relationships/tags" Target="../tags/tag31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39" Type="http://schemas.openxmlformats.org/officeDocument/2006/relationships/slideLayout" Target="../slideLayouts/slideLayout154.xml"/><Relationship Id="rId109" Type="http://schemas.openxmlformats.org/officeDocument/2006/relationships/tags" Target="../tags/tag336.xml"/><Relationship Id="rId34" Type="http://schemas.openxmlformats.org/officeDocument/2006/relationships/slideLayout" Target="../slideLayouts/slideLayout149.xml"/><Relationship Id="rId50" Type="http://schemas.openxmlformats.org/officeDocument/2006/relationships/tags" Target="../tags/tag277.xml"/><Relationship Id="rId55" Type="http://schemas.openxmlformats.org/officeDocument/2006/relationships/tags" Target="../tags/tag282.xml"/><Relationship Id="rId76" Type="http://schemas.openxmlformats.org/officeDocument/2006/relationships/tags" Target="../tags/tag303.xml"/><Relationship Id="rId97" Type="http://schemas.openxmlformats.org/officeDocument/2006/relationships/tags" Target="../tags/tag324.xml"/><Relationship Id="rId104" Type="http://schemas.openxmlformats.org/officeDocument/2006/relationships/tags" Target="../tags/tag331.xml"/><Relationship Id="rId120" Type="http://schemas.openxmlformats.org/officeDocument/2006/relationships/tags" Target="../tags/tag347.xml"/><Relationship Id="rId125" Type="http://schemas.openxmlformats.org/officeDocument/2006/relationships/tags" Target="../tags/tag352.xml"/><Relationship Id="rId7" Type="http://schemas.openxmlformats.org/officeDocument/2006/relationships/slideLayout" Target="../slideLayouts/slideLayout122.xml"/><Relationship Id="rId71" Type="http://schemas.openxmlformats.org/officeDocument/2006/relationships/tags" Target="../tags/tag298.xml"/><Relationship Id="rId92" Type="http://schemas.openxmlformats.org/officeDocument/2006/relationships/tags" Target="../tags/tag319.xml"/><Relationship Id="rId2" Type="http://schemas.openxmlformats.org/officeDocument/2006/relationships/slideLayout" Target="../slideLayouts/slideLayout117.xml"/><Relationship Id="rId29" Type="http://schemas.openxmlformats.org/officeDocument/2006/relationships/slideLayout" Target="../slideLayouts/slideLayout144.xml"/><Relationship Id="rId24" Type="http://schemas.openxmlformats.org/officeDocument/2006/relationships/slideLayout" Target="../slideLayouts/slideLayout139.xml"/><Relationship Id="rId40" Type="http://schemas.openxmlformats.org/officeDocument/2006/relationships/slideLayout" Target="../slideLayouts/slideLayout155.xml"/><Relationship Id="rId45" Type="http://schemas.openxmlformats.org/officeDocument/2006/relationships/tags" Target="../tags/tag272.xml"/><Relationship Id="rId66" Type="http://schemas.openxmlformats.org/officeDocument/2006/relationships/tags" Target="../tags/tag293.xml"/><Relationship Id="rId87" Type="http://schemas.openxmlformats.org/officeDocument/2006/relationships/tags" Target="../tags/tag314.xml"/><Relationship Id="rId110" Type="http://schemas.openxmlformats.org/officeDocument/2006/relationships/tags" Target="../tags/tag337.xml"/><Relationship Id="rId115" Type="http://schemas.openxmlformats.org/officeDocument/2006/relationships/tags" Target="../tags/tag342.xml"/><Relationship Id="rId61" Type="http://schemas.openxmlformats.org/officeDocument/2006/relationships/tags" Target="../tags/tag288.xml"/><Relationship Id="rId82" Type="http://schemas.openxmlformats.org/officeDocument/2006/relationships/tags" Target="../tags/tag309.xml"/><Relationship Id="rId1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29.xml"/><Relationship Id="rId30" Type="http://schemas.openxmlformats.org/officeDocument/2006/relationships/slideLayout" Target="../slideLayouts/slideLayout145.xml"/><Relationship Id="rId35" Type="http://schemas.openxmlformats.org/officeDocument/2006/relationships/slideLayout" Target="../slideLayouts/slideLayout150.xml"/><Relationship Id="rId56" Type="http://schemas.openxmlformats.org/officeDocument/2006/relationships/tags" Target="../tags/tag283.xml"/><Relationship Id="rId77" Type="http://schemas.openxmlformats.org/officeDocument/2006/relationships/tags" Target="../tags/tag304.xml"/><Relationship Id="rId100" Type="http://schemas.openxmlformats.org/officeDocument/2006/relationships/tags" Target="../tags/tag327.xml"/><Relationship Id="rId105" Type="http://schemas.openxmlformats.org/officeDocument/2006/relationships/tags" Target="../tags/tag332.xml"/><Relationship Id="rId126" Type="http://schemas.openxmlformats.org/officeDocument/2006/relationships/tags" Target="../tags/tag353.xml"/><Relationship Id="rId8" Type="http://schemas.openxmlformats.org/officeDocument/2006/relationships/slideLayout" Target="../slideLayouts/slideLayout123.xml"/><Relationship Id="rId51" Type="http://schemas.openxmlformats.org/officeDocument/2006/relationships/tags" Target="../tags/tag278.xml"/><Relationship Id="rId72" Type="http://schemas.openxmlformats.org/officeDocument/2006/relationships/tags" Target="../tags/tag299.xml"/><Relationship Id="rId93" Type="http://schemas.openxmlformats.org/officeDocument/2006/relationships/tags" Target="../tags/tag320.xml"/><Relationship Id="rId98" Type="http://schemas.openxmlformats.org/officeDocument/2006/relationships/tags" Target="../tags/tag325.xml"/><Relationship Id="rId121" Type="http://schemas.openxmlformats.org/officeDocument/2006/relationships/tags" Target="../tags/tag348.xml"/><Relationship Id="rId3" Type="http://schemas.openxmlformats.org/officeDocument/2006/relationships/slideLayout" Target="../slideLayouts/slideLayout118.xml"/><Relationship Id="rId25" Type="http://schemas.openxmlformats.org/officeDocument/2006/relationships/slideLayout" Target="../slideLayouts/slideLayout140.xml"/><Relationship Id="rId46" Type="http://schemas.openxmlformats.org/officeDocument/2006/relationships/tags" Target="../tags/tag273.xml"/><Relationship Id="rId67" Type="http://schemas.openxmlformats.org/officeDocument/2006/relationships/tags" Target="../tags/tag294.xml"/><Relationship Id="rId116" Type="http://schemas.openxmlformats.org/officeDocument/2006/relationships/tags" Target="../tags/tag343.xml"/><Relationship Id="rId20" Type="http://schemas.openxmlformats.org/officeDocument/2006/relationships/slideLayout" Target="../slideLayouts/slideLayout135.xml"/><Relationship Id="rId41" Type="http://schemas.openxmlformats.org/officeDocument/2006/relationships/theme" Target="../theme/theme5.xml"/><Relationship Id="rId62" Type="http://schemas.openxmlformats.org/officeDocument/2006/relationships/tags" Target="../tags/tag289.xml"/><Relationship Id="rId83" Type="http://schemas.openxmlformats.org/officeDocument/2006/relationships/tags" Target="../tags/tag310.xml"/><Relationship Id="rId88" Type="http://schemas.openxmlformats.org/officeDocument/2006/relationships/tags" Target="../tags/tag315.xml"/><Relationship Id="rId111" Type="http://schemas.openxmlformats.org/officeDocument/2006/relationships/tags" Target="../tags/tag338.xml"/><Relationship Id="rId15" Type="http://schemas.openxmlformats.org/officeDocument/2006/relationships/slideLayout" Target="../slideLayouts/slideLayout130.xml"/><Relationship Id="rId36" Type="http://schemas.openxmlformats.org/officeDocument/2006/relationships/slideLayout" Target="../slideLayouts/slideLayout151.xml"/><Relationship Id="rId57" Type="http://schemas.openxmlformats.org/officeDocument/2006/relationships/tags" Target="../tags/tag284.xml"/><Relationship Id="rId106" Type="http://schemas.openxmlformats.org/officeDocument/2006/relationships/tags" Target="../tags/tag333.xml"/><Relationship Id="rId127" Type="http://schemas.openxmlformats.org/officeDocument/2006/relationships/tags" Target="../tags/tag354.xml"/><Relationship Id="rId10" Type="http://schemas.openxmlformats.org/officeDocument/2006/relationships/slideLayout" Target="../slideLayouts/slideLayout125.xml"/><Relationship Id="rId31" Type="http://schemas.openxmlformats.org/officeDocument/2006/relationships/slideLayout" Target="../slideLayouts/slideLayout146.xml"/><Relationship Id="rId52" Type="http://schemas.openxmlformats.org/officeDocument/2006/relationships/tags" Target="../tags/tag279.xml"/><Relationship Id="rId73" Type="http://schemas.openxmlformats.org/officeDocument/2006/relationships/tags" Target="../tags/tag300.xml"/><Relationship Id="rId78" Type="http://schemas.openxmlformats.org/officeDocument/2006/relationships/tags" Target="../tags/tag305.xml"/><Relationship Id="rId94" Type="http://schemas.openxmlformats.org/officeDocument/2006/relationships/tags" Target="../tags/tag321.xml"/><Relationship Id="rId99" Type="http://schemas.openxmlformats.org/officeDocument/2006/relationships/tags" Target="../tags/tag326.xml"/><Relationship Id="rId101" Type="http://schemas.openxmlformats.org/officeDocument/2006/relationships/tags" Target="../tags/tag328.xml"/><Relationship Id="rId122" Type="http://schemas.openxmlformats.org/officeDocument/2006/relationships/tags" Target="../tags/tag349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26" Type="http://schemas.openxmlformats.org/officeDocument/2006/relationships/slideLayout" Target="../slideLayouts/slideLayout1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99E5FDA4-6BB3-DB01-1F9E-61EFF172F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AB6BE4D7-46FD-3B33-21F0-63FBC918D6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98EEB61-91BF-6EF0-CCC9-F2ACD6684A1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60148E-80EA-4707-BC54-0BF4CCE74621}" type="datetimeFigureOut">
              <a:rPr lang="it-IT" smtClean="0"/>
              <a:t>29/01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44D12BD-FD43-B458-4D60-6A06674E1B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B01E569-0FC1-70CF-DF38-5D7CEDAEEC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0F0E22-B6CB-4C6C-85F0-BB061D1F1396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11046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873" r:id="rId12"/>
    <p:sldLayoutId id="214748387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944000"/>
            <a:ext cx="1089600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892000" y="324000"/>
            <a:ext cx="1920000" cy="12585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F45C95C0-E583-43A5-B2DB-71602888E664}" type="datetime3">
              <a:rPr lang="en-US" smtClean="0"/>
              <a:t>29 January 2025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8000" y="323851"/>
            <a:ext cx="1919288" cy="12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324000"/>
            <a:ext cx="324000" cy="12585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78D69B5-2783-4637-A949-A867EE4EFE6B}"/>
              </a:ext>
            </a:extLst>
          </p:cNvPr>
          <p:cNvSpPr txBox="1"/>
          <p:nvPr userDrawn="1"/>
        </p:nvSpPr>
        <p:spPr>
          <a:xfrm>
            <a:off x="11218070" y="324001"/>
            <a:ext cx="648495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700" dirty="0">
                <a:solidFill>
                  <a:schemeClr val="tx2"/>
                </a:solidFill>
              </a:rPr>
              <a:t>Novo Nordisk</a:t>
            </a:r>
            <a:r>
              <a:rPr lang="en-GB" sz="700" baseline="30000" dirty="0">
                <a:solidFill>
                  <a:schemeClr val="tx2"/>
                </a:solidFill>
              </a:rPr>
              <a:t>®</a:t>
            </a:r>
          </a:p>
        </p:txBody>
      </p:sp>
      <p:sp>
        <p:nvSpPr>
          <p:cNvPr id="4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25.51181&lt;/Left&gt;&#10;      &lt;Top&gt;25.51181&lt;/Top&gt;&#10;      &lt;Width&gt;25.51181&lt;/Width&gt;&#10;      &lt;Height&gt;25.51181&lt;/Height&gt;&#10;    &lt;/SubGrid&gt;&#10;    &lt;SubGrid&gt;&#10;      &lt;Left&gt;51.02362&lt;/Left&gt;&#10;      &lt;Top&gt;25.51181&lt;/Top&gt;&#10;      &lt;Width&gt;151.1811&lt;/Width&gt;&#10;      &lt;Height&gt;25.51181&lt;/Height&gt;&#10;    &lt;/SubGrid&gt;&#10;    &lt;SubGrid&gt;&#10;      &lt;Left&gt;202.204727&lt;/Left&gt;&#10;      &lt;Top&gt;25.51181&lt;/Top&gt;&#10;      &lt;Width&gt;25.51181&lt;/Width&gt;&#10;      &lt;Height&gt;25.51181&lt;/Height&gt;&#10;    &lt;/SubGrid&gt;&#10;    &lt;SubGrid&gt;&#10;      &lt;Left&gt;227.716537&lt;/Left&gt;&#10;      &lt;Top&gt;25.51181&lt;/Top&gt;&#10;      &lt;Width&gt;151.1811&lt;/Width&gt;&#10;      &lt;Height&gt;25.51181&lt;/Height&gt;&#10;    &lt;/SubGrid&gt;&#10;    &lt;SubGrid&gt;&#10;      &lt;Left&gt;378.897644&lt;/Left&gt;&#10;      &lt;Top&gt;25.51181&lt;/Top&gt;&#10;      &lt;Width&gt;25.51181&lt;/Width&gt;&#10;      &lt;Height&gt;25.51181&lt;/Height&gt;&#10;    &lt;/SubGrid&gt;&#10;    &lt;SubGrid&gt;&#10;      &lt;Left&gt;404.409454&lt;/Left&gt;&#10;      &lt;Top&gt;25.51181&lt;/Top&gt;&#10;      &lt;Width&gt;151.1811&lt;/Width&gt;&#10;      &lt;Height&gt;25.51181&lt;/Height&gt;&#10;    &lt;/SubGrid&gt;&#10;    &lt;SubGrid&gt;&#10;      &lt;Left&gt;555.5906&lt;/Left&gt;&#10;      &lt;Top&gt;25.51181&lt;/Top&gt;&#10;      &lt;Width&gt;25.51181&lt;/Width&gt;&#10;      &lt;Height&gt;25.51181&lt;/Height&gt;&#10;    &lt;/SubGrid&gt;&#10;    &lt;SubGrid&gt;&#10;      &lt;Left&gt;581.102356&lt;/Left&gt;&#10;      &lt;Top&gt;25.51181&lt;/Top&gt;&#10;      &lt;Width&gt;151.1811&lt;/Width&gt;&#10;      &lt;Height&gt;25.51181&lt;/Height&gt;&#10;    &lt;/SubGrid&gt;&#10;    &lt;SubGrid&gt;&#10;      &lt;Left&gt;732.283447&lt;/Left&gt;&#10;      &lt;Top&gt;25.51181&lt;/Top&gt;&#10;      &lt;Width&gt;25.51181&lt;/Width&gt;&#10;      &lt;Height&gt;25.51181&lt;/Height&gt;&#10;    &lt;/SubGrid&gt;&#10;    &lt;SubGrid&gt;&#10;      &lt;Left&gt;757.7953&lt;/Left&gt;&#10;      &lt;Top&gt;25.51181&lt;/Top&gt;&#10;      &lt;Width&gt;151.1811&lt;/Width&gt;&#10;      &lt;Height&gt;25.51181&lt;/Height&gt;&#10;    &lt;/SubGrid&gt;&#10;    &lt;SubGrid&gt;&#10;      &lt;Left&gt;908.9764&lt;/Left&gt;&#10;      &lt;Top&gt;25.51181&lt;/Top&gt;&#10;      &lt;Width&gt;25.51181&lt;/Width&gt;&#10;      &lt;Height&gt;25.51181&lt;/Height&gt;&#10;    &lt;/SubGrid&gt;&#10;    &lt;SubGrid&gt;&#10;      &lt;Left&gt;25.51181&lt;/Left&gt;&#10;      &lt;Top&gt;218.976379&lt;/Top&gt;&#10;      &lt;Width&gt;25.51181&lt;/Width&gt;&#10;      &lt;Height&gt;25.51181&lt;/Height&gt;&#10;    &lt;/SubGrid&gt;&#10;    &lt;SubGrid&gt;&#10;      &lt;Left&gt;25.51181&lt;/Left&gt;&#10;      &lt;Top&gt;244.48819&lt;/Top&gt;&#10;      &lt;Width&gt;25.51181&lt;/Width&gt;&#10;      &lt;Height&gt;25.51181&lt;/Height&gt;&#10;    &lt;/SubGrid&gt;&#10;    &lt;SubGrid&gt;&#10;      &lt;Left&gt;25.51181&lt;/Left&gt;&#10;      &lt;Top&gt;270&lt;/Top&gt;&#10;      &lt;Width&gt;25.51181&lt;/Width&gt;&#10;      &lt;Height&gt;25.51181&lt;/Height&gt;&#10;    &lt;/SubGrid&gt;&#10;    &lt;SubGrid&gt;&#10;      &lt;Left&gt;25.51181&lt;/Left&gt;&#10;      &lt;Top&gt;295.5118&lt;/Top&gt;&#10;      &lt;Width&gt;25.51181&lt;/Width&gt;&#10;      &lt;Height&gt;25.51181&lt;/Height&gt;&#10;    &lt;/SubGrid&gt;&#10;    &lt;SubGrid&gt;&#10;      &lt;Left&gt;51.02362&lt;/Left&gt;&#10;      &lt;Top&gt;295.5118&lt;/Top&gt;&#10;      &lt;Width&gt;151.1811&lt;/Width&gt;&#10;      &lt;Height&gt;25.51181&lt;/Height&gt;&#10;    &lt;/SubGrid&gt;&#10;    &lt;SubGrid&gt;&#10;      &lt;Left&gt;202.204727&lt;/Left&gt;&#10;      &lt;Top&gt;295.5118&lt;/Top&gt;&#10;      &lt;Width&gt;25.51181&lt;/Width&gt;&#10;      &lt;Height&gt;25.51181&lt;/Height&gt;&#10;    &lt;/SubGrid&gt;&#10;    &lt;SubGrid&gt;&#10;      &lt;Left&gt;51.02362&lt;/Left&gt;&#10;      &lt;Top&gt;270&lt;/Top&gt;&#10;      &lt;Width&gt;151.1811&lt;/Width&gt;&#10;      &lt;Height&gt;25.51181&lt;/Height&gt;&#10;    &lt;/SubGrid&gt;&#10;    &lt;SubGrid&gt;&#10;      &lt;Left&gt;202.204727&lt;/Left&gt;&#10;      &lt;Top&gt;270&lt;/Top&gt;&#10;      &lt;Width&gt;25.51181&lt;/Width&gt;&#10;      &lt;Height&gt;25.51181&lt;/Height&gt;&#10;    &lt;/SubGrid&gt;&#10;    &lt;SubGrid&gt;&#10;      &lt;Left&gt;51.02362&lt;/Left&gt;&#10;      &lt;Top&gt;244.48819&lt;/Top&gt;&#10;      &lt;Width&gt;151.1811&lt;/Width&gt;&#10;      &lt;Height&gt;25.51181&lt;/Height&gt;&#10;    &lt;/SubGrid&gt;&#10;    &lt;SubGrid&gt;&#10;      &lt;Left&gt;202.204727&lt;/Left&gt;&#10;      &lt;Top&gt;244.48819&lt;/Top&gt;&#10;      &lt;Width&gt;25.51181&lt;/Width&gt;&#10;      &lt;Height&gt;25.51181&lt;/Height&gt;&#10;    &lt;/SubGrid&gt;&#10;    &lt;SubGrid&gt;&#10;      &lt;Left&gt;51.02362&lt;/Left&gt;&#10;      &lt;Top&gt;218.976379&lt;/Top&gt;&#10;      &lt;Width&gt;151.1811&lt;/Width&gt;&#10;      &lt;Height&gt;25.51181&lt;/Height&gt;&#10;    &lt;/SubGrid&gt;&#10;    &lt;SubGrid&gt;&#10;      &lt;Left&gt;202.204727&lt;/Left&gt;&#10;      &lt;Top&gt;218.976379&lt;/Top&gt;&#10;      &lt;Width&gt;25.51181&lt;/Width&gt;&#10;      &lt;Height&gt;25.51181&lt;/Height&gt;&#10;    &lt;/SubGrid&gt;&#10;    &lt;SubGrid&gt;&#10;      &lt;Left&gt;25.51181&lt;/Left&gt;&#10;      &lt;Top&gt;488.976379&lt;/Top&gt;&#10;      &lt;Width&gt;25.51181&lt;/Width&gt;&#10;      &lt;Height&gt;25.51181&lt;/Height&gt;&#10;    &lt;/SubGrid&gt;&#10;    &lt;SubGrid&gt;&#10;      &lt;Left&gt;51.02362&lt;/Left&gt;&#10;      &lt;Top&gt;488.976379&lt;/Top&gt;&#10;      &lt;Width&gt;151.1811&lt;/Width&gt;&#10;      &lt;Height&gt;25.51181&lt;/Height&gt;&#10;    &lt;/SubGrid&gt;&#10;    &lt;SubGrid&gt;&#10;      &lt;Left&gt;202.204727&lt;/Left&gt;&#10;      &lt;Top&gt;488.976379&lt;/Top&gt;&#10;      &lt;Width&gt;25.51181&lt;/Width&gt;&#10;      &lt;Height&gt;25.51181&lt;/Height&gt;&#10;    &lt;/SubGrid&gt;&#10;    &lt;SubGrid&gt;&#10;      &lt;Left&gt;227.716537&lt;/Left&gt;&#10;      &lt;Top&gt;488.976379&lt;/Top&gt;&#10;      &lt;Width&gt;151.1811&lt;/Width&gt;&#10;      &lt;Height&gt;25.51181&lt;/Height&gt;&#10;    &lt;/SubGrid&gt;&#10;    &lt;SubGrid&gt;&#10;      &lt;Left&gt;378.897644&lt;/Left&gt;&#10;      &lt;Top&gt;488.976379&lt;/Top&gt;&#10;      &lt;Width&gt;25.51181&lt;/Width&gt;&#10;      &lt;Height&gt;25.51181&lt;/Height&gt;&#10;    &lt;/SubGrid&gt;&#10;    &lt;SubGrid&gt;&#10;      &lt;Left&gt;404.409454&lt;/Left&gt;&#10;      &lt;Top&gt;488.976379&lt;/Top&gt;&#10;      &lt;Width&gt;151.1811&lt;/Width&gt;&#10;      &lt;Height&gt;25.51181&lt;/Height&gt;&#10;    &lt;/SubGrid&gt;&#10;    &lt;SubGrid&gt;&#10;      &lt;Left&gt;555.5906&lt;/Left&gt;&#10;      &lt;Top&gt;488.976379&lt;/Top&gt;&#10;      &lt;Width&gt;25.51181&lt;/Width&gt;&#10;      &lt;Height&gt;25.51181&lt;/Height&gt;&#10;    &lt;/SubGrid&gt;&#10;    &lt;SubGrid&gt;&#10;      &lt;Left&gt;581.102356&lt;/Left&gt;&#10;      &lt;Top&gt;488.976379&lt;/Top&gt;&#10;      &lt;Width&gt;151.1811&lt;/Width&gt;&#10;      &lt;Height&gt;25.51181&lt;/Height&gt;&#10;    &lt;/SubGrid&gt;&#10;    &lt;SubGrid&gt;&#10;      &lt;Left&gt;732.283447&lt;/Left&gt;&#10;      &lt;Top&gt;488.976379&lt;/Top&gt;&#10;      &lt;Width&gt;25.51181&lt;/Width&gt;&#10;      &lt;Height&gt;25.51181&lt;/Height&gt;&#10;    &lt;/SubGrid&gt;&#10;    &lt;SubGrid&gt;&#10;      &lt;Left&gt;757.7953&lt;/Left&gt;&#10;      &lt;Top&gt;488.976379&lt;/Top&gt;&#10;      &lt;Width&gt;151.1811&lt;/Width&gt;&#10;      &lt;Height&gt;25.51181&lt;/Height&gt;&#10;    &lt;/SubGrid&gt;&#10;    &lt;SubGrid&gt;&#10;      &lt;Left&gt;908.9764&lt;/Left&gt;&#10;      &lt;Top&gt;488.976379&lt;/Top&gt;&#10;      &lt;Width&gt;25.51181&lt;/Width&gt;&#10;      &lt;Height&gt;25.51181&lt;/Height&gt;&#10;    &lt;/SubGrid&gt;&#10;    &lt;SubGrid&gt;&#10;      &lt;Left&gt;227.716537&lt;/Left&gt;&#10;      &lt;Top&gt;295.5118&lt;/Top&gt;&#10;      &lt;Width&gt;151.1811&lt;/Width&gt;&#10;      &lt;Height&gt;25.51181&lt;/Height&gt;&#10;    &lt;/SubGrid&gt;&#10;    &lt;SubGrid&gt;&#10;      &lt;Left&gt;378.897644&lt;/Left&gt;&#10;      &lt;Top&gt;295.5118&lt;/Top&gt;&#10;      &lt;Width&gt;25.51181&lt;/Width&gt;&#10;      &lt;Height&gt;25.51181&lt;/Height&gt;&#10;    &lt;/SubGrid&gt;&#10;    &lt;SubGrid&gt;&#10;      &lt;Left&gt;227.716537&lt;/Left&gt;&#10;      &lt;Top&gt;270&lt;/Top&gt;&#10;      &lt;Width&gt;151.1811&lt;/Width&gt;&#10;      &lt;Height&gt;25.51181&lt;/Height&gt;&#10;    &lt;/SubGrid&gt;&#10;    &lt;SubGrid&gt;&#10;      &lt;Left&gt;378.897644&lt;/Left&gt;&#10;      &lt;Top&gt;270&lt;/Top&gt;&#10;      &lt;Width&gt;25.51181&lt;/Width&gt;&#10;      &lt;Height&gt;25.51181&lt;/Height&gt;&#10;    &lt;/SubGrid&gt;&#10;    &lt;SubGrid&gt;&#10;      &lt;Left&gt;227.716537&lt;/Left&gt;&#10;      &lt;Top&gt;244.48819&lt;/Top&gt;&#10;      &lt;Width&gt;151.1811&lt;/Width&gt;&#10;      &lt;Height&gt;25.51181&lt;/Height&gt;&#10;    &lt;/SubGrid&gt;&#10;    &lt;SubGrid&gt;&#10;      &lt;Left&gt;378.897644&lt;/Left&gt;&#10;      &lt;Top&gt;244.48819&lt;/Top&gt;&#10;      &lt;Width&gt;25.51181&lt;/Width&gt;&#10;      &lt;Height&gt;25.51181&lt;/Height&gt;&#10;    &lt;/SubGrid&gt;&#10;    &lt;SubGrid&gt;&#10;      &lt;Left&gt;227.716537&lt;/Left&gt;&#10;      &lt;Top&gt;218.976379&lt;/Top&gt;&#10;      &lt;Width&gt;151.1811&lt;/Width&gt;&#10;      &lt;Height&gt;25.51181&lt;/Height&gt;&#10;    &lt;/SubGrid&gt;&#10;    &lt;SubGrid&gt;&#10;      &lt;Left&gt;378.897644&lt;/Left&gt;&#10;      &lt;Top&gt;218.976379&lt;/Top&gt;&#10;      &lt;Width&gt;25.51181&lt;/Width&gt;&#10;      &lt;Height&gt;25.51181&lt;/Height&gt;&#10;    &lt;/SubGrid&gt;&#10;    &lt;SubGrid&gt;&#10;      &lt;Left&gt;404.409454&lt;/Left&gt;&#10;      &lt;Top&gt;295.5118&lt;/Top&gt;&#10;      &lt;Width&gt;151.1811&lt;/Width&gt;&#10;      &lt;Height&gt;25.51181&lt;/Height&gt;&#10;    &lt;/SubGrid&gt;&#10;    &lt;SubGrid&gt;&#10;      &lt;Left&gt;555.5906&lt;/Left&gt;&#10;      &lt;Top&gt;295.5118&lt;/Top&gt;&#10;      &lt;Width&gt;25.51181&lt;/Width&gt;&#10;      &lt;Height&gt;25.51181&lt;/Height&gt;&#10;    &lt;/SubGrid&gt;&#10;    &lt;SubGrid&gt;&#10;      &lt;Left&gt;404.409454&lt;/Left&gt;&#10;      &lt;Top&gt;270&lt;/Top&gt;&#10;      &lt;Width&gt;151.1811&lt;/Width&gt;&#10;      &lt;Height&gt;25.51181&lt;/Height&gt;&#10;    &lt;/SubGrid&gt;&#10;    &lt;SubGrid&gt;&#10;      &lt;Left&gt;555.5906&lt;/Left&gt;&#10;      &lt;Top&gt;270&lt;/Top&gt;&#10;      &lt;Width&gt;25.51181&lt;/Width&gt;&#10;      &lt;Height&gt;25.51181&lt;/Height&gt;&#10;    &lt;/SubGrid&gt;&#10;    &lt;SubGrid&gt;&#10;      &lt;Left&gt;404.409454&lt;/Left&gt;&#10;      &lt;Top&gt;244.48819&lt;/Top&gt;&#10;      &lt;Width&gt;151.1811&lt;/Width&gt;&#10;      &lt;Height&gt;25.51181&lt;/Height&gt;&#10;    &lt;/SubGrid&gt;&#10;    &lt;SubGrid&gt;&#10;      &lt;Left&gt;555.5906&lt;/Left&gt;&#10;      &lt;Top&gt;244.48819&lt;/Top&gt;&#10;      &lt;Width&gt;25.51181&lt;/Width&gt;&#10;      &lt;Height&gt;25.51181&lt;/Height&gt;&#10;    &lt;/SubGrid&gt;&#10;    &lt;SubGrid&gt;&#10;      &lt;Left&gt;404.409454&lt;/Left&gt;&#10;      &lt;Top&gt;218.976379&lt;/Top&gt;&#10;      &lt;Width&gt;151.1811&lt;/Width&gt;&#10;      &lt;Height&gt;25.51181&lt;/Height&gt;&#10;    &lt;/SubGrid&gt;&#10;    &lt;SubGrid&gt;&#10;      &lt;Left&gt;555.5906&lt;/Left&gt;&#10;      &lt;Top&gt;218.976379&lt;/Top&gt;&#10;      &lt;Width&gt;25.51181&lt;/Width&gt;&#10;      &lt;Height&gt;25.51181&lt;/Height&gt;&#10;    &lt;/SubGrid&gt;&#10;    &lt;SubGrid&gt;&#10;      &lt;Left&gt;581.102356&lt;/Left&gt;&#10;      &lt;Top&gt;295.5118&lt;/Top&gt;&#10;      &lt;Width&gt;151.1811&lt;/Width&gt;&#10;      &lt;Height&gt;25.51181&lt;/Height&gt;&#10;    &lt;/SubGrid&gt;&#10;    &lt;SubGrid&gt;&#10;      &lt;Left&gt;732.283447&lt;/Left&gt;&#10;      &lt;Top&gt;295.5118&lt;/Top&gt;&#10;      &lt;Width&gt;25.51181&lt;/Width&gt;&#10;      &lt;Height&gt;25.51181&lt;/Height&gt;&#10;    &lt;/SubGrid&gt;&#10;    &lt;SubGrid&gt;&#10;      &lt;Left&gt;581.102356&lt;/Left&gt;&#10;      &lt;Top&gt;270&lt;/Top&gt;&#10;      &lt;Width&gt;151.1811&lt;/Width&gt;&#10;      &lt;Height&gt;25.51181&lt;/Height&gt;&#10;    &lt;/SubGrid&gt;&#10;    &lt;SubGrid&gt;&#10;      &lt;Left&gt;732.283447&lt;/Left&gt;&#10;      &lt;Top&gt;270&lt;/Top&gt;&#10;      &lt;Width&gt;25.51181&lt;/Width&gt;&#10;      &lt;Height&gt;25.51181&lt;/Height&gt;&#10;    &lt;/SubGrid&gt;&#10;    &lt;SubGrid&gt;&#10;      &lt;Left&gt;581.102356&lt;/Left&gt;&#10;      &lt;Top&gt;244.48819&lt;/Top&gt;&#10;      &lt;Width&gt;151.1811&lt;/Width&gt;&#10;      &lt;Height&gt;25.51181&lt;/Height&gt;&#10;    &lt;/SubGrid&gt;&#10;    &lt;SubGrid&gt;&#10;      &lt;Left&gt;732.283447&lt;/Left&gt;&#10;      &lt;Top&gt;244.48819&lt;/Top&gt;&#10;      &lt;Width&gt;25.51181&lt;/Width&gt;&#10;      &lt;Height&gt;25.51181&lt;/Height&gt;&#10;    &lt;/SubGrid&gt;&#10;    &lt;SubGrid&gt;&#10;      &lt;Left&gt;581.102356&lt;/Left&gt;&#10;      &lt;Top&gt;218.976379&lt;/Top&gt;&#10;      &lt;Width&gt;151.1811&lt;/Width&gt;&#10;      &lt;Height&gt;25.51181&lt;/Height&gt;&#10;    &lt;/SubGrid&gt;&#10;    &lt;SubGrid&gt;&#10;      &lt;Left&gt;732.283447&lt;/Left&gt;&#10;      &lt;Top&gt;218.976379&lt;/Top&gt;&#10;      &lt;Width&gt;25.51181&lt;/Width&gt;&#10;      &lt;Height&gt;25.51181&lt;/Height&gt;&#10;    &lt;/SubGrid&gt;&#10;    &lt;SubGrid&gt;&#10;      &lt;Left&gt;757.7953&lt;/Left&gt;&#10;      &lt;Top&gt;295.5118&lt;/Top&gt;&#10;      &lt;Width&gt;151.1811&lt;/Width&gt;&#10;      &lt;Height&gt;25.51181&lt;/Height&gt;&#10;    &lt;/SubGrid&gt;&#10;    &lt;SubGrid&gt;&#10;      &lt;Left&gt;908.9764&lt;/Left&gt;&#10;      &lt;Top&gt;295.5118&lt;/Top&gt;&#10;      &lt;Width&gt;25.51181&lt;/Width&gt;&#10;      &lt;Height&gt;25.51181&lt;/Height&gt;&#10;    &lt;/SubGrid&gt;&#10;    &lt;SubGrid&gt;&#10;      &lt;Left&gt;757.7953&lt;/Left&gt;&#10;      &lt;Top&gt;270&lt;/Top&gt;&#10;      &lt;Width&gt;151.1811&lt;/Width&gt;&#10;      &lt;Height&gt;25.51181&lt;/Height&gt;&#10;    &lt;/SubGrid&gt;&#10;    &lt;SubGrid&gt;&#10;      &lt;Left&gt;908.9764&lt;/Left&gt;&#10;      &lt;Top&gt;270&lt;/Top&gt;&#10;      &lt;Width&gt;25.51181&lt;/Width&gt;&#10;      &lt;Height&gt;25.51181&lt;/Height&gt;&#10;    &lt;/SubGrid&gt;&#10;    &lt;SubGrid&gt;&#10;      &lt;Left&gt;757.7953&lt;/Left&gt;&#10;      &lt;Top&gt;244.48819&lt;/Top&gt;&#10;      &lt;Width&gt;151.1811&lt;/Width&gt;&#10;      &lt;Height&gt;25.51181&lt;/Height&gt;&#10;    &lt;/SubGrid&gt;&#10;    &lt;SubGrid&gt;&#10;      &lt;Left&gt;908.9764&lt;/Left&gt;&#10;      &lt;Top&gt;244.48819&lt;/Top&gt;&#10;      &lt;Width&gt;25.51181&lt;/Width&gt;&#10;      &lt;Height&gt;25.51181&lt;/Height&gt;&#10;    &lt;/SubGrid&gt;&#10;    &lt;SubGrid&gt;&#10;      &lt;Left&gt;757.7953&lt;/Left&gt;&#10;      &lt;Top&gt;218.976379&lt;/Top&gt;&#10;      &lt;Width&gt;151.1811&lt;/Width&gt;&#10;      &lt;Height&gt;25.51181&lt;/Height&gt;&#10;    &lt;/SubGrid&gt;&#10;    &lt;SubGrid&gt;&#10;      &lt;Left&gt;908.9764&lt;/Left&gt;&#10;      &lt;Top&gt;218.976379&lt;/Top&gt;&#10;      &lt;Width&gt;25.51181&lt;/Width&gt;&#10;      &lt;Height&gt;25.51181&lt;/Height&gt;&#10;    &lt;/SubGrid&gt;&#10;    &lt;SubGrid&gt;&#10;      &lt;Left&gt;25.51181&lt;/Left&gt;&#10;      &lt;Top&gt;51.02362&lt;/Top&gt;&#10;      &lt;Width&gt;25.51181&lt;/Width&gt;&#10;      &lt;Height&gt;167.952759&lt;/Height&gt;&#10;    &lt;/SubGrid&gt;&#10;    &lt;SubGrid&gt;&#10;      &lt;Left&gt;202.204727&lt;/Left&gt;&#10;      &lt;Top&gt;51.02362&lt;/Top&gt;&#10;      &lt;Width&gt;25.51181&lt;/Width&gt;&#10;      &lt;Height&gt;167.952759&lt;/Height&gt;&#10;    &lt;/SubGrid&gt;&#10;    &lt;SubGrid&gt;&#10;      &lt;Left&gt;378.897644&lt;/Left&gt;&#10;      &lt;Top&gt;51.02362&lt;/Top&gt;&#10;      &lt;Width&gt;25.51181&lt;/Width&gt;&#10;      &lt;Height&gt;167.952759&lt;/Height&gt;&#10;    &lt;/SubGrid&gt;&#10;    &lt;SubGrid&gt;&#10;      &lt;Left&gt;555.5906&lt;/Left&gt;&#10;      &lt;Top&gt;51.02362&lt;/Top&gt;&#10;      &lt;Width&gt;25.51181&lt;/Width&gt;&#10;      &lt;Height&gt;167.952759&lt;/Height&gt;&#10;    &lt;/SubGrid&gt;&#10;    &lt;SubGrid&gt;&#10;      &lt;Left&gt;732.283447&lt;/Left&gt;&#10;      &lt;Top&gt;51.02362&lt;/Top&gt;&#10;      &lt;Width&gt;25.51181&lt;/Width&gt;&#10;      &lt;Height&gt;167.952759&lt;/Height&gt;&#10;    &lt;/SubGrid&gt;&#10;    &lt;SubGrid&gt;&#10;      &lt;Left&gt;908.9764&lt;/Left&gt;&#10;      &lt;Top&gt;51.02362&lt;/Top&gt;&#10;      &lt;Width&gt;25.51181&lt;/Width&gt;&#10;      &lt;Height&gt;167.952759&lt;/Height&gt;&#10;    &lt;/SubGrid&gt;&#10;    &lt;SubGrid&gt;&#10;      &lt;Left&gt;25.51181&lt;/Left&gt;&#10;      &lt;Top&gt;321.023621&lt;/Top&gt;&#10;      &lt;Width&gt;25.51181&lt;/Width&gt;&#10;      &lt;Height&gt;167.952759&lt;/Height&gt;&#10;    &lt;/SubGrid&gt;&#10;    &lt;SubGrid&gt;&#10;      &lt;Left&gt;202.204727&lt;/Left&gt;&#10;      &lt;Top&gt;321.023621&lt;/Top&gt;&#10;      &lt;Width&gt;25.51181&lt;/Width&gt;&#10;      &lt;Height&gt;167.952759&lt;/Height&gt;&#10;    &lt;/SubGrid&gt;&#10;    &lt;SubGrid&gt;&#10;      &lt;Left&gt;378.897644&lt;/Left&gt;&#10;      &lt;Top&gt;321.023621&lt;/Top&gt;&#10;      &lt;Width&gt;25.51181&lt;/Width&gt;&#10;      &lt;Height&gt;167.952759&lt;/Height&gt;&#10;    &lt;/SubGrid&gt;&#10;    &lt;SubGrid&gt;&#10;      &lt;Left&gt;555.5906&lt;/Left&gt;&#10;      &lt;Top&gt;321.023621&lt;/Top&gt;&#10;      &lt;Width&gt;25.51181&lt;/Width&gt;&#10;      &lt;Height&gt;167.952759&lt;/Height&gt;&#10;    &lt;/SubGrid&gt;&#10;    &lt;SubGrid&gt;&#10;      &lt;Left&gt;732.283447&lt;/Left&gt;&#10;      &lt;Top&gt;321.023621&lt;/Top&gt;&#10;      &lt;Width&gt;25.51181&lt;/Width&gt;&#10;      &lt;Height&gt;167.952759&lt;/Height&gt;&#10;    &lt;/SubGrid&gt;&#10;    &lt;SubGrid&gt;&#10;      &lt;Left&gt;908.9764&lt;/Left&gt;&#10;      &lt;Top&gt;321.023621&lt;/Top&gt;&#10;      &lt;Width&gt;25.51181&lt;/Width&gt;&#10;      &lt;Height&gt;167.952759&lt;/Height&gt;&#10;    &lt;/SubGrid&gt;&#10;    &lt;SubGrid&gt;&#10;      &lt;Left&gt;51.02362&lt;/Left&gt;&#10;      &lt;Top&gt;51.02362&lt;/Top&gt;&#10;      &lt;Width&gt;151.1811&lt;/Width&gt;&#10;      &lt;Height&gt;167.952759&lt;/Height&gt;&#10;    &lt;/SubGrid&gt;&#10;    &lt;SubGrid&gt;&#10;      &lt;Left&gt;227.716537&lt;/Left&gt;&#10;      &lt;Top&gt;51.02362&lt;/Top&gt;&#10;      &lt;Width&gt;151.1811&lt;/Width&gt;&#10;      &lt;Height&gt;167.952759&lt;/Height&gt;&#10;    &lt;/SubGrid&gt;&#10;    &lt;SubGrid&gt;&#10;      &lt;Left&gt;404.409454&lt;/Left&gt;&#10;      &lt;Top&gt;51.02362&lt;/Top&gt;&#10;      &lt;Width&gt;151.1811&lt;/Width&gt;&#10;      &lt;Height&gt;167.952759&lt;/Height&gt;&#10;    &lt;/SubGrid&gt;&#10;    &lt;SubGrid&gt;&#10;      &lt;Left&gt;581.102356&lt;/Left&gt;&#10;      &lt;Top&gt;51.02362&lt;/Top&gt;&#10;      &lt;Width&gt;151.1811&lt;/Width&gt;&#10;      &lt;Height&gt;167.952759&lt;/Height&gt;&#10;    &lt;/SubGrid&gt;&#10;    &lt;SubGrid&gt;&#10;      &lt;Left&gt;757.7953&lt;/Left&gt;&#10;      &lt;Top&gt;51.02362&lt;/Top&gt;&#10;      &lt;Width&gt;151.1811&lt;/Width&gt;&#10;      &lt;Height&gt;167.952759&lt;/Height&gt;&#10;    &lt;/SubGrid&gt;&#10;    &lt;SubGrid&gt;&#10;      &lt;Left&gt;51.02362&lt;/Left&gt;&#10;      &lt;Top&gt;321.023621&lt;/Top&gt;&#10;      &lt;Width&gt;151.1811&lt;/Width&gt;&#10;      &lt;Height&gt;167.952759&lt;/Height&gt;&#10;    &lt;/SubGrid&gt;&#10;    &lt;SubGrid&gt;&#10;      &lt;Left&gt;227.716537&lt;/Left&gt;&#10;      &lt;Top&gt;321.023621&lt;/Top&gt;&#10;      &lt;Width&gt;151.1811&lt;/Width&gt;&#10;      &lt;Height&gt;167.952759&lt;/Height&gt;&#10;    &lt;/SubGrid&gt;&#10;    &lt;SubGrid&gt;&#10;      &lt;Left&gt;404.409454&lt;/Left&gt;&#10;      &lt;Top&gt;321.023621&lt;/Top&gt;&#10;      &lt;Width&gt;151.1811&lt;/Width&gt;&#10;      &lt;Height&gt;167.952759&lt;/Height&gt;&#10;    &lt;/SubGrid&gt;&#10;    &lt;SubGrid&gt;&#10;      &lt;Left&gt;581.102356&lt;/Left&gt;&#10;      &lt;Top&gt;321.023621&lt;/Top&gt;&#10;      &lt;Width&gt;151.1811&lt;/Width&gt;&#10;      &lt;Height&gt;167.952759&lt;/Height&gt;&#10;    &lt;/SubGrid&gt;&#10;    &lt;SubGrid&gt;&#10;      &lt;Left&gt;757.7953&lt;/Left&gt;&#10;      &lt;Top&gt;321.023621&lt;/Top&gt;&#10;      &lt;Width&gt;151.1811&lt;/Width&gt;&#10;      &lt;Height&gt;167.952759&lt;/Height&gt;&#10;    &lt;/SubGrid&gt;&#10;  &lt;/SubGrids&gt;&#10;  &lt;WorkArea&gt;&#10;    &lt;Top&gt;25.51181&lt;/Top&gt;&#10;    &lt;Left&gt;25.51181&lt;/Left&gt;&#10;    &lt;Width&gt;908.9764&lt;/Width&gt;&#10;    &lt;Height&gt;488.976379&lt;/Height&gt;&#10;  &lt;/WorkArea&gt;&#10;  &lt;AspectW&gt;-1&lt;/AspectW&gt;&#10;  &lt;AspectH&gt;-1&lt;/AspectH&gt;&#10;  &lt;Width&gt;960&lt;/Width&gt;&#10;  &lt;Height&gt;540&lt;/Height&gt;&#10;  &lt;HGap&gt;5&lt;/HGap&gt;&#10;  &lt;VGap&gt;5&lt;/VGap&gt;&#10;  &lt;OfficeVersion&gt;-1&lt;/OfficeVersion&gt;&#10;&lt;/GridTheme&gt;" hidden="1">
            <a:extLst>
              <a:ext uri="{FF2B5EF4-FFF2-40B4-BE49-F238E27FC236}">
                <a16:creationId xmlns:a16="http://schemas.microsoft.com/office/drawing/2014/main" id="{F5F0A4E1-4330-49F4-88F5-A83195F8511C}"/>
              </a:ext>
            </a:extLst>
          </p:cNvPr>
          <p:cNvSpPr/>
          <p:nvPr userDrawn="1"/>
        </p:nvSpPr>
        <p:spPr>
          <a:xfrm>
            <a:off x="324000" y="324000"/>
            <a:ext cx="11544000" cy="6210000"/>
          </a:xfrm>
          <a:prstGeom prst="rect">
            <a:avLst/>
          </a:prstGeom>
          <a:solidFill>
            <a:srgbClr val="E6E6E6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30BD45F-E3FD-4877-8E01-D258D6C49ED2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32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1F8F4EB-98F9-49C6-AD23-0434FEEA7DAD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648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461F43A-D29F-4117-83B4-78ECC6A90694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2568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3885B838-2022-4A1F-A84B-BB1127E2EE43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2892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AC6417FB-6B96-4CAA-9A61-CE3C85379335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4812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88F2338E-050E-4997-B5FD-16609E6B05AC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5136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65330914-84C1-4EFF-8088-9FF9153B21A3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7056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0D9F1F0C-68CC-4F13-A58D-7D5850D6BABB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7380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CD1A103-17AC-4A34-8A1D-92E20B67C019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9300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6D17E478-3C99-48E5-91A4-253FD970A082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9624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ACBDE3FC-87C8-4EA6-8040-812BA3745D76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1154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994EE5B0-B3FC-43D9-8B31-B03CA4819265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32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71B943CE-F983-40CB-852B-B348DA0EECF9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32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195AE9FF-57B5-4B28-95BD-65EB616F8339}"/>
              </a:ext>
            </a:extLst>
          </p:cNvPr>
          <p:cNvSpPr/>
          <p:nvPr userDrawn="1">
            <p:custDataLst>
              <p:tags r:id="rId76"/>
            </p:custDataLst>
          </p:nvPr>
        </p:nvSpPr>
        <p:spPr>
          <a:xfrm>
            <a:off x="32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09C4273C-D9B3-4E1C-BECF-E403BC0FED81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32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D61A9C98-DFAC-4C93-9FC3-FA4B7268AFD4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648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2738953D-847C-44BC-BB1D-3E35D57608D4}"/>
              </a:ext>
            </a:extLst>
          </p:cNvPr>
          <p:cNvSpPr/>
          <p:nvPr userDrawn="1">
            <p:custDataLst>
              <p:tags r:id="rId79"/>
            </p:custDataLst>
          </p:nvPr>
        </p:nvSpPr>
        <p:spPr>
          <a:xfrm>
            <a:off x="2568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A85DD5C0-07B7-493F-ACD2-090488BDD5B6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648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2D03EC4E-106A-492D-9392-E8DAE462F1BE}"/>
              </a:ext>
            </a:extLst>
          </p:cNvPr>
          <p:cNvSpPr/>
          <p:nvPr userDrawn="1">
            <p:custDataLst>
              <p:tags r:id="rId81"/>
            </p:custDataLst>
          </p:nvPr>
        </p:nvSpPr>
        <p:spPr>
          <a:xfrm>
            <a:off x="2568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id="{20022031-21E7-4D6F-92EB-D2DDACC3013D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648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0D8C0033-6DD1-44FA-8D1E-C266A6CB5E58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2568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5405C511-8E76-4F70-B418-D42EFC88B59C}"/>
              </a:ext>
            </a:extLst>
          </p:cNvPr>
          <p:cNvSpPr/>
          <p:nvPr userDrawn="1">
            <p:custDataLst>
              <p:tags r:id="rId84"/>
            </p:custDataLst>
          </p:nvPr>
        </p:nvSpPr>
        <p:spPr>
          <a:xfrm>
            <a:off x="648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id="{3A318B50-011A-4077-B856-5AA6365091AC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2568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id="{6A2BCA5B-FE07-43B1-A4B7-31BD6164A6E4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32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5C40FFBD-7783-45AC-8A2B-097F0420F8BE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648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4CEBE773-5EE2-48C7-957B-8390AB5ACC07}"/>
              </a:ext>
            </a:extLst>
          </p:cNvPr>
          <p:cNvSpPr/>
          <p:nvPr userDrawn="1">
            <p:custDataLst>
              <p:tags r:id="rId88"/>
            </p:custDataLst>
          </p:nvPr>
        </p:nvSpPr>
        <p:spPr>
          <a:xfrm>
            <a:off x="2568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id="{A88B1085-4452-48B2-ABE2-B39A1F2C8B5C}"/>
              </a:ext>
            </a:extLst>
          </p:cNvPr>
          <p:cNvSpPr/>
          <p:nvPr userDrawn="1">
            <p:custDataLst>
              <p:tags r:id="rId89"/>
            </p:custDataLst>
          </p:nvPr>
        </p:nvSpPr>
        <p:spPr>
          <a:xfrm>
            <a:off x="2892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id="{35677462-D07F-483C-9C29-E04937D96970}"/>
              </a:ext>
            </a:extLst>
          </p:cNvPr>
          <p:cNvSpPr/>
          <p:nvPr userDrawn="1">
            <p:custDataLst>
              <p:tags r:id="rId90"/>
            </p:custDataLst>
          </p:nvPr>
        </p:nvSpPr>
        <p:spPr>
          <a:xfrm>
            <a:off x="4812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719982BD-DEFC-4091-A576-C424DBA3C4DD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5136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id="{09DABF0B-9E1E-4C4B-B44A-B858D0F51253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7056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id="{4C2D3A6A-66FD-4AEE-8C1E-B6E5EECF6AC4}"/>
              </a:ext>
            </a:extLst>
          </p:cNvPr>
          <p:cNvSpPr/>
          <p:nvPr userDrawn="1">
            <p:custDataLst>
              <p:tags r:id="rId93"/>
            </p:custDataLst>
          </p:nvPr>
        </p:nvSpPr>
        <p:spPr>
          <a:xfrm>
            <a:off x="7380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id="{2D1F338B-CF9E-4B33-946A-4DB709760AF6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9300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id="{C62DDC7A-A75D-47D1-8199-CF07F2BDFB07}"/>
              </a:ext>
            </a:extLst>
          </p:cNvPr>
          <p:cNvSpPr/>
          <p:nvPr userDrawn="1">
            <p:custDataLst>
              <p:tags r:id="rId95"/>
            </p:custDataLst>
          </p:nvPr>
        </p:nvSpPr>
        <p:spPr>
          <a:xfrm>
            <a:off x="9624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id="{58B5BE77-B2A7-4D7F-8E0B-C3E954ED65B5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1154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id="{FCFBBBC3-8FB6-4FAC-ADAD-D2D96E64A22C}"/>
              </a:ext>
            </a:extLst>
          </p:cNvPr>
          <p:cNvSpPr/>
          <p:nvPr userDrawn="1">
            <p:custDataLst>
              <p:tags r:id="rId97"/>
            </p:custDataLst>
          </p:nvPr>
        </p:nvSpPr>
        <p:spPr>
          <a:xfrm>
            <a:off x="2892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id="{2C5A7DD2-B5CE-413A-9B54-583BA9EBCDFF}"/>
              </a:ext>
            </a:extLst>
          </p:cNvPr>
          <p:cNvSpPr/>
          <p:nvPr userDrawn="1">
            <p:custDataLst>
              <p:tags r:id="rId98"/>
            </p:custDataLst>
          </p:nvPr>
        </p:nvSpPr>
        <p:spPr>
          <a:xfrm>
            <a:off x="4812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id="{D9461BA4-4B7F-4140-AC43-136B90730752}"/>
              </a:ext>
            </a:extLst>
          </p:cNvPr>
          <p:cNvSpPr/>
          <p:nvPr userDrawn="1">
            <p:custDataLst>
              <p:tags r:id="rId99"/>
            </p:custDataLst>
          </p:nvPr>
        </p:nvSpPr>
        <p:spPr>
          <a:xfrm>
            <a:off x="2892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3" name="Rectangle 62" hidden="1">
            <a:extLst>
              <a:ext uri="{FF2B5EF4-FFF2-40B4-BE49-F238E27FC236}">
                <a16:creationId xmlns:a16="http://schemas.microsoft.com/office/drawing/2014/main" id="{DEB946CF-96A1-4659-9385-72D850C9C025}"/>
              </a:ext>
            </a:extLst>
          </p:cNvPr>
          <p:cNvSpPr/>
          <p:nvPr userDrawn="1">
            <p:custDataLst>
              <p:tags r:id="rId100"/>
            </p:custDataLst>
          </p:nvPr>
        </p:nvSpPr>
        <p:spPr>
          <a:xfrm>
            <a:off x="4812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4" name="Rectangle 63" hidden="1">
            <a:extLst>
              <a:ext uri="{FF2B5EF4-FFF2-40B4-BE49-F238E27FC236}">
                <a16:creationId xmlns:a16="http://schemas.microsoft.com/office/drawing/2014/main" id="{742C5205-4F49-47AB-B503-BC7F63858642}"/>
              </a:ext>
            </a:extLst>
          </p:cNvPr>
          <p:cNvSpPr/>
          <p:nvPr userDrawn="1">
            <p:custDataLst>
              <p:tags r:id="rId101"/>
            </p:custDataLst>
          </p:nvPr>
        </p:nvSpPr>
        <p:spPr>
          <a:xfrm>
            <a:off x="2892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5" name="Rectangle 64" hidden="1">
            <a:extLst>
              <a:ext uri="{FF2B5EF4-FFF2-40B4-BE49-F238E27FC236}">
                <a16:creationId xmlns:a16="http://schemas.microsoft.com/office/drawing/2014/main" id="{5B2DC920-B604-43E9-ADC1-B26167353D44}"/>
              </a:ext>
            </a:extLst>
          </p:cNvPr>
          <p:cNvSpPr/>
          <p:nvPr userDrawn="1">
            <p:custDataLst>
              <p:tags r:id="rId102"/>
            </p:custDataLst>
          </p:nvPr>
        </p:nvSpPr>
        <p:spPr>
          <a:xfrm>
            <a:off x="4812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id="{419CE6B2-B4FC-4BBD-937B-2FAF2EC436EB}"/>
              </a:ext>
            </a:extLst>
          </p:cNvPr>
          <p:cNvSpPr/>
          <p:nvPr userDrawn="1">
            <p:custDataLst>
              <p:tags r:id="rId103"/>
            </p:custDataLst>
          </p:nvPr>
        </p:nvSpPr>
        <p:spPr>
          <a:xfrm>
            <a:off x="2892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7" name="Rectangle 66" hidden="1">
            <a:extLst>
              <a:ext uri="{FF2B5EF4-FFF2-40B4-BE49-F238E27FC236}">
                <a16:creationId xmlns:a16="http://schemas.microsoft.com/office/drawing/2014/main" id="{24F744BF-7A2A-44A1-99AF-BF4D80F50B40}"/>
              </a:ext>
            </a:extLst>
          </p:cNvPr>
          <p:cNvSpPr/>
          <p:nvPr userDrawn="1">
            <p:custDataLst>
              <p:tags r:id="rId104"/>
            </p:custDataLst>
          </p:nvPr>
        </p:nvSpPr>
        <p:spPr>
          <a:xfrm>
            <a:off x="4812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8" name="Rectangle 67" hidden="1">
            <a:extLst>
              <a:ext uri="{FF2B5EF4-FFF2-40B4-BE49-F238E27FC236}">
                <a16:creationId xmlns:a16="http://schemas.microsoft.com/office/drawing/2014/main" id="{4A561C12-BD2C-4ABE-9ACE-047842A9B253}"/>
              </a:ext>
            </a:extLst>
          </p:cNvPr>
          <p:cNvSpPr/>
          <p:nvPr userDrawn="1">
            <p:custDataLst>
              <p:tags r:id="rId105"/>
            </p:custDataLst>
          </p:nvPr>
        </p:nvSpPr>
        <p:spPr>
          <a:xfrm>
            <a:off x="5136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id="{1F79B3EE-7015-44C0-B98B-D7976E3CC6C0}"/>
              </a:ext>
            </a:extLst>
          </p:cNvPr>
          <p:cNvSpPr/>
          <p:nvPr userDrawn="1">
            <p:custDataLst>
              <p:tags r:id="rId106"/>
            </p:custDataLst>
          </p:nvPr>
        </p:nvSpPr>
        <p:spPr>
          <a:xfrm>
            <a:off x="7056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0" name="Rectangle 69" hidden="1">
            <a:extLst>
              <a:ext uri="{FF2B5EF4-FFF2-40B4-BE49-F238E27FC236}">
                <a16:creationId xmlns:a16="http://schemas.microsoft.com/office/drawing/2014/main" id="{55195DF3-05B5-49EC-8E2A-6D131BFB07E4}"/>
              </a:ext>
            </a:extLst>
          </p:cNvPr>
          <p:cNvSpPr/>
          <p:nvPr userDrawn="1">
            <p:custDataLst>
              <p:tags r:id="rId107"/>
            </p:custDataLst>
          </p:nvPr>
        </p:nvSpPr>
        <p:spPr>
          <a:xfrm>
            <a:off x="5136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id="{6C7ACCBF-3785-451F-8D26-06EB8169ED29}"/>
              </a:ext>
            </a:extLst>
          </p:cNvPr>
          <p:cNvSpPr/>
          <p:nvPr userDrawn="1">
            <p:custDataLst>
              <p:tags r:id="rId108"/>
            </p:custDataLst>
          </p:nvPr>
        </p:nvSpPr>
        <p:spPr>
          <a:xfrm>
            <a:off x="7056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0DB1FB36-F0B8-4569-B24C-A7FE882E3A0D}"/>
              </a:ext>
            </a:extLst>
          </p:cNvPr>
          <p:cNvSpPr/>
          <p:nvPr userDrawn="1">
            <p:custDataLst>
              <p:tags r:id="rId109"/>
            </p:custDataLst>
          </p:nvPr>
        </p:nvSpPr>
        <p:spPr>
          <a:xfrm>
            <a:off x="5136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3" name="Rectangle 72" hidden="1">
            <a:extLst>
              <a:ext uri="{FF2B5EF4-FFF2-40B4-BE49-F238E27FC236}">
                <a16:creationId xmlns:a16="http://schemas.microsoft.com/office/drawing/2014/main" id="{A16BF7E9-5EB1-4763-B3B3-B9BDDFCE9368}"/>
              </a:ext>
            </a:extLst>
          </p:cNvPr>
          <p:cNvSpPr/>
          <p:nvPr userDrawn="1">
            <p:custDataLst>
              <p:tags r:id="rId110"/>
            </p:custDataLst>
          </p:nvPr>
        </p:nvSpPr>
        <p:spPr>
          <a:xfrm>
            <a:off x="7056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4" name="Rectangle 73" hidden="1">
            <a:extLst>
              <a:ext uri="{FF2B5EF4-FFF2-40B4-BE49-F238E27FC236}">
                <a16:creationId xmlns:a16="http://schemas.microsoft.com/office/drawing/2014/main" id="{B859330A-8EF0-4EC1-8579-E436CA633192}"/>
              </a:ext>
            </a:extLst>
          </p:cNvPr>
          <p:cNvSpPr/>
          <p:nvPr userDrawn="1">
            <p:custDataLst>
              <p:tags r:id="rId111"/>
            </p:custDataLst>
          </p:nvPr>
        </p:nvSpPr>
        <p:spPr>
          <a:xfrm>
            <a:off x="5136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5" name="Rectangle 74" hidden="1">
            <a:extLst>
              <a:ext uri="{FF2B5EF4-FFF2-40B4-BE49-F238E27FC236}">
                <a16:creationId xmlns:a16="http://schemas.microsoft.com/office/drawing/2014/main" id="{28ADAA1F-5B13-4CA7-92F6-B9BD284DD1E1}"/>
              </a:ext>
            </a:extLst>
          </p:cNvPr>
          <p:cNvSpPr/>
          <p:nvPr userDrawn="1">
            <p:custDataLst>
              <p:tags r:id="rId112"/>
            </p:custDataLst>
          </p:nvPr>
        </p:nvSpPr>
        <p:spPr>
          <a:xfrm>
            <a:off x="7056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id="{D063FCBC-0F82-4BF7-A4F3-63086372BCA1}"/>
              </a:ext>
            </a:extLst>
          </p:cNvPr>
          <p:cNvSpPr/>
          <p:nvPr userDrawn="1">
            <p:custDataLst>
              <p:tags r:id="rId113"/>
            </p:custDataLst>
          </p:nvPr>
        </p:nvSpPr>
        <p:spPr>
          <a:xfrm>
            <a:off x="7380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7" name="Rectangle 76" hidden="1">
            <a:extLst>
              <a:ext uri="{FF2B5EF4-FFF2-40B4-BE49-F238E27FC236}">
                <a16:creationId xmlns:a16="http://schemas.microsoft.com/office/drawing/2014/main" id="{CE645546-D2AC-47E6-9FEE-B872688AACBC}"/>
              </a:ext>
            </a:extLst>
          </p:cNvPr>
          <p:cNvSpPr/>
          <p:nvPr userDrawn="1">
            <p:custDataLst>
              <p:tags r:id="rId114"/>
            </p:custDataLst>
          </p:nvPr>
        </p:nvSpPr>
        <p:spPr>
          <a:xfrm>
            <a:off x="9300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8" name="Rectangle 77" hidden="1">
            <a:extLst>
              <a:ext uri="{FF2B5EF4-FFF2-40B4-BE49-F238E27FC236}">
                <a16:creationId xmlns:a16="http://schemas.microsoft.com/office/drawing/2014/main" id="{67D40869-4909-44AB-ADF7-F7E881C8F368}"/>
              </a:ext>
            </a:extLst>
          </p:cNvPr>
          <p:cNvSpPr/>
          <p:nvPr userDrawn="1">
            <p:custDataLst>
              <p:tags r:id="rId115"/>
            </p:custDataLst>
          </p:nvPr>
        </p:nvSpPr>
        <p:spPr>
          <a:xfrm>
            <a:off x="7380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9" name="Rectangle 78" hidden="1">
            <a:extLst>
              <a:ext uri="{FF2B5EF4-FFF2-40B4-BE49-F238E27FC236}">
                <a16:creationId xmlns:a16="http://schemas.microsoft.com/office/drawing/2014/main" id="{135A9F82-A30E-49D6-85D5-F27123AF0F10}"/>
              </a:ext>
            </a:extLst>
          </p:cNvPr>
          <p:cNvSpPr/>
          <p:nvPr userDrawn="1">
            <p:custDataLst>
              <p:tags r:id="rId116"/>
            </p:custDataLst>
          </p:nvPr>
        </p:nvSpPr>
        <p:spPr>
          <a:xfrm>
            <a:off x="9300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0" name="Rectangle 79" hidden="1">
            <a:extLst>
              <a:ext uri="{FF2B5EF4-FFF2-40B4-BE49-F238E27FC236}">
                <a16:creationId xmlns:a16="http://schemas.microsoft.com/office/drawing/2014/main" id="{95983F4E-3EE6-4BD7-AD35-C47ED01C5ED4}"/>
              </a:ext>
            </a:extLst>
          </p:cNvPr>
          <p:cNvSpPr/>
          <p:nvPr userDrawn="1">
            <p:custDataLst>
              <p:tags r:id="rId117"/>
            </p:custDataLst>
          </p:nvPr>
        </p:nvSpPr>
        <p:spPr>
          <a:xfrm>
            <a:off x="7380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1" name="Rectangle 80" hidden="1">
            <a:extLst>
              <a:ext uri="{FF2B5EF4-FFF2-40B4-BE49-F238E27FC236}">
                <a16:creationId xmlns:a16="http://schemas.microsoft.com/office/drawing/2014/main" id="{F717EFA4-0ED4-4A46-9AFD-0F0A6E65D253}"/>
              </a:ext>
            </a:extLst>
          </p:cNvPr>
          <p:cNvSpPr/>
          <p:nvPr userDrawn="1">
            <p:custDataLst>
              <p:tags r:id="rId118"/>
            </p:custDataLst>
          </p:nvPr>
        </p:nvSpPr>
        <p:spPr>
          <a:xfrm>
            <a:off x="9300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id="{6E85224F-39CC-4044-9201-BDF5309E2509}"/>
              </a:ext>
            </a:extLst>
          </p:cNvPr>
          <p:cNvSpPr/>
          <p:nvPr userDrawn="1">
            <p:custDataLst>
              <p:tags r:id="rId119"/>
            </p:custDataLst>
          </p:nvPr>
        </p:nvSpPr>
        <p:spPr>
          <a:xfrm>
            <a:off x="7380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C5FFBE79-1CFF-48A7-9FA3-6763881AA963}"/>
              </a:ext>
            </a:extLst>
          </p:cNvPr>
          <p:cNvSpPr/>
          <p:nvPr userDrawn="1">
            <p:custDataLst>
              <p:tags r:id="rId120"/>
            </p:custDataLst>
          </p:nvPr>
        </p:nvSpPr>
        <p:spPr>
          <a:xfrm>
            <a:off x="9300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4" name="Rectangle 83" hidden="1">
            <a:extLst>
              <a:ext uri="{FF2B5EF4-FFF2-40B4-BE49-F238E27FC236}">
                <a16:creationId xmlns:a16="http://schemas.microsoft.com/office/drawing/2014/main" id="{C7039B6D-AC56-40A5-858D-599754E1E0AD}"/>
              </a:ext>
            </a:extLst>
          </p:cNvPr>
          <p:cNvSpPr/>
          <p:nvPr userDrawn="1">
            <p:custDataLst>
              <p:tags r:id="rId121"/>
            </p:custDataLst>
          </p:nvPr>
        </p:nvSpPr>
        <p:spPr>
          <a:xfrm>
            <a:off x="9624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5" name="Rectangle 84" hidden="1">
            <a:extLst>
              <a:ext uri="{FF2B5EF4-FFF2-40B4-BE49-F238E27FC236}">
                <a16:creationId xmlns:a16="http://schemas.microsoft.com/office/drawing/2014/main" id="{71018EC8-1FEE-415C-B1E0-DAFC251C6F4F}"/>
              </a:ext>
            </a:extLst>
          </p:cNvPr>
          <p:cNvSpPr/>
          <p:nvPr userDrawn="1">
            <p:custDataLst>
              <p:tags r:id="rId122"/>
            </p:custDataLst>
          </p:nvPr>
        </p:nvSpPr>
        <p:spPr>
          <a:xfrm>
            <a:off x="1154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id="{33D0B803-F928-4AB8-9FA8-7A2550C65926}"/>
              </a:ext>
            </a:extLst>
          </p:cNvPr>
          <p:cNvSpPr/>
          <p:nvPr userDrawn="1">
            <p:custDataLst>
              <p:tags r:id="rId123"/>
            </p:custDataLst>
          </p:nvPr>
        </p:nvSpPr>
        <p:spPr>
          <a:xfrm>
            <a:off x="9624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id="{A74BCB38-7D1D-4BB9-94CE-ADBDC5DAB010}"/>
              </a:ext>
            </a:extLst>
          </p:cNvPr>
          <p:cNvSpPr/>
          <p:nvPr userDrawn="1">
            <p:custDataLst>
              <p:tags r:id="rId124"/>
            </p:custDataLst>
          </p:nvPr>
        </p:nvSpPr>
        <p:spPr>
          <a:xfrm>
            <a:off x="1154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8" name="Rectangle 87" hidden="1">
            <a:extLst>
              <a:ext uri="{FF2B5EF4-FFF2-40B4-BE49-F238E27FC236}">
                <a16:creationId xmlns:a16="http://schemas.microsoft.com/office/drawing/2014/main" id="{6E6BC775-1DC0-42CB-BA95-EB6F78CFD0FE}"/>
              </a:ext>
            </a:extLst>
          </p:cNvPr>
          <p:cNvSpPr/>
          <p:nvPr userDrawn="1">
            <p:custDataLst>
              <p:tags r:id="rId125"/>
            </p:custDataLst>
          </p:nvPr>
        </p:nvSpPr>
        <p:spPr>
          <a:xfrm>
            <a:off x="9624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9" name="Rectangle 88" hidden="1">
            <a:extLst>
              <a:ext uri="{FF2B5EF4-FFF2-40B4-BE49-F238E27FC236}">
                <a16:creationId xmlns:a16="http://schemas.microsoft.com/office/drawing/2014/main" id="{95792BBB-2B34-4739-8C69-B66E64F8A279}"/>
              </a:ext>
            </a:extLst>
          </p:cNvPr>
          <p:cNvSpPr/>
          <p:nvPr userDrawn="1">
            <p:custDataLst>
              <p:tags r:id="rId126"/>
            </p:custDataLst>
          </p:nvPr>
        </p:nvSpPr>
        <p:spPr>
          <a:xfrm>
            <a:off x="1154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0" name="Rectangle 89" hidden="1">
            <a:extLst>
              <a:ext uri="{FF2B5EF4-FFF2-40B4-BE49-F238E27FC236}">
                <a16:creationId xmlns:a16="http://schemas.microsoft.com/office/drawing/2014/main" id="{E8FDD868-6922-48B4-976C-6F9677663DAF}"/>
              </a:ext>
            </a:extLst>
          </p:cNvPr>
          <p:cNvSpPr/>
          <p:nvPr userDrawn="1">
            <p:custDataLst>
              <p:tags r:id="rId127"/>
            </p:custDataLst>
          </p:nvPr>
        </p:nvSpPr>
        <p:spPr>
          <a:xfrm>
            <a:off x="9624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id="{E3A8AF86-B9FD-4654-82BA-248AF9D72F7C}"/>
              </a:ext>
            </a:extLst>
          </p:cNvPr>
          <p:cNvSpPr/>
          <p:nvPr userDrawn="1">
            <p:custDataLst>
              <p:tags r:id="rId128"/>
            </p:custDataLst>
          </p:nvPr>
        </p:nvSpPr>
        <p:spPr>
          <a:xfrm>
            <a:off x="1154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2" name="Rectangle 91" hidden="1">
            <a:extLst>
              <a:ext uri="{FF2B5EF4-FFF2-40B4-BE49-F238E27FC236}">
                <a16:creationId xmlns:a16="http://schemas.microsoft.com/office/drawing/2014/main" id="{F1579785-2978-4428-A96D-6D6718940F9D}"/>
              </a:ext>
            </a:extLst>
          </p:cNvPr>
          <p:cNvSpPr/>
          <p:nvPr userDrawn="1">
            <p:custDataLst>
              <p:tags r:id="rId129"/>
            </p:custDataLst>
          </p:nvPr>
        </p:nvSpPr>
        <p:spPr>
          <a:xfrm>
            <a:off x="32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3" name="Rectangle 92" hidden="1">
            <a:extLst>
              <a:ext uri="{FF2B5EF4-FFF2-40B4-BE49-F238E27FC236}">
                <a16:creationId xmlns:a16="http://schemas.microsoft.com/office/drawing/2014/main" id="{0584FA97-4AB6-4A5E-91FB-95E9E602EA26}"/>
              </a:ext>
            </a:extLst>
          </p:cNvPr>
          <p:cNvSpPr/>
          <p:nvPr userDrawn="1">
            <p:custDataLst>
              <p:tags r:id="rId130"/>
            </p:custDataLst>
          </p:nvPr>
        </p:nvSpPr>
        <p:spPr>
          <a:xfrm>
            <a:off x="2568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4" name="Rectangle 93" hidden="1">
            <a:extLst>
              <a:ext uri="{FF2B5EF4-FFF2-40B4-BE49-F238E27FC236}">
                <a16:creationId xmlns:a16="http://schemas.microsoft.com/office/drawing/2014/main" id="{A48EE25C-475F-4316-B6A2-011BEE3BCD92}"/>
              </a:ext>
            </a:extLst>
          </p:cNvPr>
          <p:cNvSpPr/>
          <p:nvPr userDrawn="1">
            <p:custDataLst>
              <p:tags r:id="rId131"/>
            </p:custDataLst>
          </p:nvPr>
        </p:nvSpPr>
        <p:spPr>
          <a:xfrm>
            <a:off x="4812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id="{7E857FE4-C9A3-45B7-B041-66EE09495EEC}"/>
              </a:ext>
            </a:extLst>
          </p:cNvPr>
          <p:cNvSpPr/>
          <p:nvPr userDrawn="1">
            <p:custDataLst>
              <p:tags r:id="rId132"/>
            </p:custDataLst>
          </p:nvPr>
        </p:nvSpPr>
        <p:spPr>
          <a:xfrm>
            <a:off x="7056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6" name="Rectangle 95" hidden="1">
            <a:extLst>
              <a:ext uri="{FF2B5EF4-FFF2-40B4-BE49-F238E27FC236}">
                <a16:creationId xmlns:a16="http://schemas.microsoft.com/office/drawing/2014/main" id="{9B5A1CBD-EB02-4B45-AF38-AAD0F53B4AD5}"/>
              </a:ext>
            </a:extLst>
          </p:cNvPr>
          <p:cNvSpPr/>
          <p:nvPr userDrawn="1">
            <p:custDataLst>
              <p:tags r:id="rId133"/>
            </p:custDataLst>
          </p:nvPr>
        </p:nvSpPr>
        <p:spPr>
          <a:xfrm>
            <a:off x="9300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id="{B80B4760-EF40-4F2E-9A91-131FFC1E37B4}"/>
              </a:ext>
            </a:extLst>
          </p:cNvPr>
          <p:cNvSpPr/>
          <p:nvPr userDrawn="1">
            <p:custDataLst>
              <p:tags r:id="rId134"/>
            </p:custDataLst>
          </p:nvPr>
        </p:nvSpPr>
        <p:spPr>
          <a:xfrm>
            <a:off x="1154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8" name="Rectangle 97" hidden="1">
            <a:extLst>
              <a:ext uri="{FF2B5EF4-FFF2-40B4-BE49-F238E27FC236}">
                <a16:creationId xmlns:a16="http://schemas.microsoft.com/office/drawing/2014/main" id="{8E8A7F77-3721-4815-B970-1D077CD2DA75}"/>
              </a:ext>
            </a:extLst>
          </p:cNvPr>
          <p:cNvSpPr/>
          <p:nvPr userDrawn="1">
            <p:custDataLst>
              <p:tags r:id="rId135"/>
            </p:custDataLst>
          </p:nvPr>
        </p:nvSpPr>
        <p:spPr>
          <a:xfrm>
            <a:off x="32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9" name="Rectangle 98" hidden="1">
            <a:extLst>
              <a:ext uri="{FF2B5EF4-FFF2-40B4-BE49-F238E27FC236}">
                <a16:creationId xmlns:a16="http://schemas.microsoft.com/office/drawing/2014/main" id="{55C42CA1-292D-4FB8-8399-74D1AD374EBE}"/>
              </a:ext>
            </a:extLst>
          </p:cNvPr>
          <p:cNvSpPr/>
          <p:nvPr userDrawn="1">
            <p:custDataLst>
              <p:tags r:id="rId136"/>
            </p:custDataLst>
          </p:nvPr>
        </p:nvSpPr>
        <p:spPr>
          <a:xfrm>
            <a:off x="2568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0" name="Rectangle 99" hidden="1">
            <a:extLst>
              <a:ext uri="{FF2B5EF4-FFF2-40B4-BE49-F238E27FC236}">
                <a16:creationId xmlns:a16="http://schemas.microsoft.com/office/drawing/2014/main" id="{76F4910F-0223-4A58-B2B3-CC1032CA6A96}"/>
              </a:ext>
            </a:extLst>
          </p:cNvPr>
          <p:cNvSpPr/>
          <p:nvPr userDrawn="1">
            <p:custDataLst>
              <p:tags r:id="rId137"/>
            </p:custDataLst>
          </p:nvPr>
        </p:nvSpPr>
        <p:spPr>
          <a:xfrm>
            <a:off x="4812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1" name="Rectangle 100" hidden="1">
            <a:extLst>
              <a:ext uri="{FF2B5EF4-FFF2-40B4-BE49-F238E27FC236}">
                <a16:creationId xmlns:a16="http://schemas.microsoft.com/office/drawing/2014/main" id="{309CA6FE-3AA4-4E04-82CE-33A9467E0E6A}"/>
              </a:ext>
            </a:extLst>
          </p:cNvPr>
          <p:cNvSpPr/>
          <p:nvPr userDrawn="1">
            <p:custDataLst>
              <p:tags r:id="rId138"/>
            </p:custDataLst>
          </p:nvPr>
        </p:nvSpPr>
        <p:spPr>
          <a:xfrm>
            <a:off x="7056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2" name="Rectangle 101" hidden="1">
            <a:extLst>
              <a:ext uri="{FF2B5EF4-FFF2-40B4-BE49-F238E27FC236}">
                <a16:creationId xmlns:a16="http://schemas.microsoft.com/office/drawing/2014/main" id="{D3FAE458-E122-4E17-A2BB-860390DB639B}"/>
              </a:ext>
            </a:extLst>
          </p:cNvPr>
          <p:cNvSpPr/>
          <p:nvPr userDrawn="1">
            <p:custDataLst>
              <p:tags r:id="rId139"/>
            </p:custDataLst>
          </p:nvPr>
        </p:nvSpPr>
        <p:spPr>
          <a:xfrm>
            <a:off x="9300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09CCF6D6-3C14-49F1-9CCF-BB2BB02BA463}"/>
              </a:ext>
            </a:extLst>
          </p:cNvPr>
          <p:cNvSpPr/>
          <p:nvPr userDrawn="1">
            <p:custDataLst>
              <p:tags r:id="rId140"/>
            </p:custDataLst>
          </p:nvPr>
        </p:nvSpPr>
        <p:spPr>
          <a:xfrm>
            <a:off x="1154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4" name="Rectangle 103" hidden="1">
            <a:extLst>
              <a:ext uri="{FF2B5EF4-FFF2-40B4-BE49-F238E27FC236}">
                <a16:creationId xmlns:a16="http://schemas.microsoft.com/office/drawing/2014/main" id="{89199ED3-108C-4CB1-85A2-7274AF6D76B6}"/>
              </a:ext>
            </a:extLst>
          </p:cNvPr>
          <p:cNvSpPr/>
          <p:nvPr userDrawn="1">
            <p:custDataLst>
              <p:tags r:id="rId141"/>
            </p:custDataLst>
          </p:nvPr>
        </p:nvSpPr>
        <p:spPr>
          <a:xfrm>
            <a:off x="648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5" name="Rectangle 104" hidden="1">
            <a:extLst>
              <a:ext uri="{FF2B5EF4-FFF2-40B4-BE49-F238E27FC236}">
                <a16:creationId xmlns:a16="http://schemas.microsoft.com/office/drawing/2014/main" id="{F4889CBE-7887-46C6-99BA-4A154FF96016}"/>
              </a:ext>
            </a:extLst>
          </p:cNvPr>
          <p:cNvSpPr/>
          <p:nvPr userDrawn="1">
            <p:custDataLst>
              <p:tags r:id="rId142"/>
            </p:custDataLst>
          </p:nvPr>
        </p:nvSpPr>
        <p:spPr>
          <a:xfrm>
            <a:off x="2892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6" name="Rectangle 105" hidden="1">
            <a:extLst>
              <a:ext uri="{FF2B5EF4-FFF2-40B4-BE49-F238E27FC236}">
                <a16:creationId xmlns:a16="http://schemas.microsoft.com/office/drawing/2014/main" id="{2714EDDA-63CD-4C57-BF1D-55D84EF7DA1C}"/>
              </a:ext>
            </a:extLst>
          </p:cNvPr>
          <p:cNvSpPr/>
          <p:nvPr userDrawn="1">
            <p:custDataLst>
              <p:tags r:id="rId143"/>
            </p:custDataLst>
          </p:nvPr>
        </p:nvSpPr>
        <p:spPr>
          <a:xfrm>
            <a:off x="5136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7" name="Rectangle 106" hidden="1">
            <a:extLst>
              <a:ext uri="{FF2B5EF4-FFF2-40B4-BE49-F238E27FC236}">
                <a16:creationId xmlns:a16="http://schemas.microsoft.com/office/drawing/2014/main" id="{5A4A540B-AB24-4508-BDE2-193816CE6C2F}"/>
              </a:ext>
            </a:extLst>
          </p:cNvPr>
          <p:cNvSpPr/>
          <p:nvPr userDrawn="1">
            <p:custDataLst>
              <p:tags r:id="rId144"/>
            </p:custDataLst>
          </p:nvPr>
        </p:nvSpPr>
        <p:spPr>
          <a:xfrm>
            <a:off x="7380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8" name="Rectangle 107" hidden="1">
            <a:extLst>
              <a:ext uri="{FF2B5EF4-FFF2-40B4-BE49-F238E27FC236}">
                <a16:creationId xmlns:a16="http://schemas.microsoft.com/office/drawing/2014/main" id="{2E588317-42FC-4AFD-BF07-4EEAEA17B0FB}"/>
              </a:ext>
            </a:extLst>
          </p:cNvPr>
          <p:cNvSpPr/>
          <p:nvPr userDrawn="1">
            <p:custDataLst>
              <p:tags r:id="rId145"/>
            </p:custDataLst>
          </p:nvPr>
        </p:nvSpPr>
        <p:spPr>
          <a:xfrm>
            <a:off x="9624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9" name="Rectangle 108" hidden="1">
            <a:extLst>
              <a:ext uri="{FF2B5EF4-FFF2-40B4-BE49-F238E27FC236}">
                <a16:creationId xmlns:a16="http://schemas.microsoft.com/office/drawing/2014/main" id="{409B9FF3-D5DB-4C25-942C-75E24E0BD588}"/>
              </a:ext>
            </a:extLst>
          </p:cNvPr>
          <p:cNvSpPr/>
          <p:nvPr userDrawn="1">
            <p:custDataLst>
              <p:tags r:id="rId146"/>
            </p:custDataLst>
          </p:nvPr>
        </p:nvSpPr>
        <p:spPr>
          <a:xfrm>
            <a:off x="648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0" name="Rectangle 109" hidden="1">
            <a:extLst>
              <a:ext uri="{FF2B5EF4-FFF2-40B4-BE49-F238E27FC236}">
                <a16:creationId xmlns:a16="http://schemas.microsoft.com/office/drawing/2014/main" id="{B34EB183-B95A-4A10-93F6-B2E688291320}"/>
              </a:ext>
            </a:extLst>
          </p:cNvPr>
          <p:cNvSpPr/>
          <p:nvPr userDrawn="1">
            <p:custDataLst>
              <p:tags r:id="rId147"/>
            </p:custDataLst>
          </p:nvPr>
        </p:nvSpPr>
        <p:spPr>
          <a:xfrm>
            <a:off x="2892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1" name="Rectangle 110" hidden="1">
            <a:extLst>
              <a:ext uri="{FF2B5EF4-FFF2-40B4-BE49-F238E27FC236}">
                <a16:creationId xmlns:a16="http://schemas.microsoft.com/office/drawing/2014/main" id="{9445802B-D13B-4448-BCCA-EAC068866CD3}"/>
              </a:ext>
            </a:extLst>
          </p:cNvPr>
          <p:cNvSpPr/>
          <p:nvPr userDrawn="1">
            <p:custDataLst>
              <p:tags r:id="rId148"/>
            </p:custDataLst>
          </p:nvPr>
        </p:nvSpPr>
        <p:spPr>
          <a:xfrm>
            <a:off x="5136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2" name="Rectangle 111" hidden="1">
            <a:extLst>
              <a:ext uri="{FF2B5EF4-FFF2-40B4-BE49-F238E27FC236}">
                <a16:creationId xmlns:a16="http://schemas.microsoft.com/office/drawing/2014/main" id="{C10B3B33-18E6-4256-821F-887D5B33BF81}"/>
              </a:ext>
            </a:extLst>
          </p:cNvPr>
          <p:cNvSpPr/>
          <p:nvPr userDrawn="1">
            <p:custDataLst>
              <p:tags r:id="rId149"/>
            </p:custDataLst>
          </p:nvPr>
        </p:nvSpPr>
        <p:spPr>
          <a:xfrm>
            <a:off x="7380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3" name="Rectangle 112" hidden="1">
            <a:extLst>
              <a:ext uri="{FF2B5EF4-FFF2-40B4-BE49-F238E27FC236}">
                <a16:creationId xmlns:a16="http://schemas.microsoft.com/office/drawing/2014/main" id="{C76950B1-616E-4DAB-A1C9-C18FEC9C31D4}"/>
              </a:ext>
            </a:extLst>
          </p:cNvPr>
          <p:cNvSpPr/>
          <p:nvPr userDrawn="1">
            <p:custDataLst>
              <p:tags r:id="rId150"/>
            </p:custDataLst>
          </p:nvPr>
        </p:nvSpPr>
        <p:spPr>
          <a:xfrm>
            <a:off x="9624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5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1090779A-FA30-4EF9-809F-763A92C81AB1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79750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</p:sldLayoutIdLst>
  <p:hf sldNum="0"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9993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539987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809980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377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1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79996" indent="-179996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4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8">
          <p15:clr>
            <a:srgbClr val="F26B43"/>
          </p15:clr>
        </p15:guide>
        <p15:guide id="2" pos="1617">
          <p15:clr>
            <a:srgbClr val="F26B43"/>
          </p15:clr>
        </p15:guide>
        <p15:guide id="3" orient="horz" pos="2364">
          <p15:clr>
            <a:srgbClr val="F26B43"/>
          </p15:clr>
        </p15:guide>
        <p15:guide id="4" orient="horz" pos="2568">
          <p15:clr>
            <a:srgbClr val="F26B43"/>
          </p15:clr>
        </p15:guide>
        <p15:guide id="5" pos="3031">
          <p15:clr>
            <a:srgbClr val="F26B43"/>
          </p15:clr>
        </p15:guide>
        <p15:guide id="6" pos="3235">
          <p15:clr>
            <a:srgbClr val="F26B43"/>
          </p15:clr>
        </p15:guide>
        <p15:guide id="7" orient="horz" pos="3911">
          <p15:clr>
            <a:srgbClr val="F26B43"/>
          </p15:clr>
        </p15:guide>
        <p15:guide id="8" orient="horz" pos="4115">
          <p15:clr>
            <a:srgbClr val="F26B43"/>
          </p15:clr>
        </p15:guide>
        <p15:guide id="9" pos="6063">
          <p15:clr>
            <a:srgbClr val="F26B43"/>
          </p15:clr>
        </p15:guide>
        <p15:guide id="10" pos="7272">
          <p15:clr>
            <a:srgbClr val="F26B43"/>
          </p15:clr>
        </p15:guide>
        <p15:guide id="11" orient="horz" pos="2160">
          <p15:clr>
            <a:srgbClr val="F26B43"/>
          </p15:clr>
        </p15:guide>
        <p15:guide id="12" pos="4444">
          <p15:clr>
            <a:srgbClr val="F26B43"/>
          </p15:clr>
        </p15:guide>
        <p15:guide id="13" pos="4648">
          <p15:clr>
            <a:srgbClr val="F26B43"/>
          </p15:clr>
        </p15:guide>
        <p15:guide id="14" orient="horz" pos="204">
          <p15:clr>
            <a:srgbClr val="F26B43"/>
          </p15:clr>
        </p15:guide>
        <p15:guide id="15" orient="horz" pos="408">
          <p15:clr>
            <a:srgbClr val="F26B43"/>
          </p15:clr>
        </p15:guide>
        <p15:guide id="16" pos="1821">
          <p15:clr>
            <a:srgbClr val="F26B43"/>
          </p15:clr>
        </p15:guide>
        <p15:guide id="17" orient="horz" pos="1956">
          <p15:clr>
            <a:srgbClr val="F26B43"/>
          </p15:clr>
        </p15:guide>
        <p15:guide id="18" pos="5859">
          <p15:clr>
            <a:srgbClr val="F26B43"/>
          </p15:clr>
        </p15:guide>
        <p15:guide id="19" orient="horz" pos="1752">
          <p15:clr>
            <a:srgbClr val="F26B43"/>
          </p15:clr>
        </p15:guide>
        <p15:guide id="20" pos="7476">
          <p15:clr>
            <a:srgbClr val="F26B43"/>
          </p15:clr>
        </p15:guide>
        <p15:guide id="21" pos="20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944000"/>
            <a:ext cx="1089600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  <a:p>
            <a:pPr lvl="3"/>
            <a:r>
              <a:rPr lang="en-GB" noProof="0"/>
              <a:t>Level 4, Header</a:t>
            </a:r>
          </a:p>
          <a:p>
            <a:pPr lvl="4"/>
            <a:r>
              <a:rPr lang="en-GB" noProof="0"/>
              <a:t>Level 5, Body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, Small Header</a:t>
            </a:r>
          </a:p>
          <a:p>
            <a:pPr lvl="7"/>
            <a:r>
              <a:rPr lang="en-GB" noProof="0"/>
              <a:t>Level 8, Small Body</a:t>
            </a:r>
          </a:p>
          <a:p>
            <a:pPr lvl="8"/>
            <a:r>
              <a:rPr lang="en-GB" noProof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892000" y="324000"/>
            <a:ext cx="1920000" cy="12585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  <a:latin typeface="Apis For Office" panose="020B0504010101010104" pitchFamily="34" charset="0"/>
              </a:defRPr>
            </a:lvl1pPr>
          </a:lstStyle>
          <a:p>
            <a:fld id="{3849F413-F251-44C4-B7BA-891C8AB4F5BF}" type="datetime3">
              <a:rPr lang="en-US" smtClean="0"/>
              <a:pPr/>
              <a:t>29 January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8000" y="323851"/>
            <a:ext cx="1919288" cy="12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  <a:latin typeface="Apis For Office" panose="020B0504010101010104" pitchFamily="34" charset="0"/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324000"/>
            <a:ext cx="324000" cy="12585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  <a:latin typeface="Apis For Office" panose="020B0504010101010104" pitchFamily="34" charset="0"/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4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25.51181&lt;/Left&gt;&#10;      &lt;Top&gt;25.51181&lt;/Top&gt;&#10;      &lt;Width&gt;25.51181&lt;/Width&gt;&#10;      &lt;Height&gt;25.51181&lt;/Height&gt;&#10;    &lt;/SubGrid&gt;&#10;    &lt;SubGrid&gt;&#10;      &lt;Left&gt;51.02362&lt;/Left&gt;&#10;      &lt;Top&gt;25.51181&lt;/Top&gt;&#10;      &lt;Width&gt;151.1811&lt;/Width&gt;&#10;      &lt;Height&gt;25.51181&lt;/Height&gt;&#10;    &lt;/SubGrid&gt;&#10;    &lt;SubGrid&gt;&#10;      &lt;Left&gt;202.204727&lt;/Left&gt;&#10;      &lt;Top&gt;25.51181&lt;/Top&gt;&#10;      &lt;Width&gt;25.51181&lt;/Width&gt;&#10;      &lt;Height&gt;25.51181&lt;/Height&gt;&#10;    &lt;/SubGrid&gt;&#10;    &lt;SubGrid&gt;&#10;      &lt;Left&gt;227.716537&lt;/Left&gt;&#10;      &lt;Top&gt;25.51181&lt;/Top&gt;&#10;      &lt;Width&gt;151.1811&lt;/Width&gt;&#10;      &lt;Height&gt;25.51181&lt;/Height&gt;&#10;    &lt;/SubGrid&gt;&#10;    &lt;SubGrid&gt;&#10;      &lt;Left&gt;378.897644&lt;/Left&gt;&#10;      &lt;Top&gt;25.51181&lt;/Top&gt;&#10;      &lt;Width&gt;25.51181&lt;/Width&gt;&#10;      &lt;Height&gt;25.51181&lt;/Height&gt;&#10;    &lt;/SubGrid&gt;&#10;    &lt;SubGrid&gt;&#10;      &lt;Left&gt;404.409454&lt;/Left&gt;&#10;      &lt;Top&gt;25.51181&lt;/Top&gt;&#10;      &lt;Width&gt;151.1811&lt;/Width&gt;&#10;      &lt;Height&gt;25.51181&lt;/Height&gt;&#10;    &lt;/SubGrid&gt;&#10;    &lt;SubGrid&gt;&#10;      &lt;Left&gt;555.5906&lt;/Left&gt;&#10;      &lt;Top&gt;25.51181&lt;/Top&gt;&#10;      &lt;Width&gt;25.51181&lt;/Width&gt;&#10;      &lt;Height&gt;25.51181&lt;/Height&gt;&#10;    &lt;/SubGrid&gt;&#10;    &lt;SubGrid&gt;&#10;      &lt;Left&gt;581.102356&lt;/Left&gt;&#10;      &lt;Top&gt;25.51181&lt;/Top&gt;&#10;      &lt;Width&gt;151.1811&lt;/Width&gt;&#10;      &lt;Height&gt;25.51181&lt;/Height&gt;&#10;    &lt;/SubGrid&gt;&#10;    &lt;SubGrid&gt;&#10;      &lt;Left&gt;732.283447&lt;/Left&gt;&#10;      &lt;Top&gt;25.51181&lt;/Top&gt;&#10;      &lt;Width&gt;25.51181&lt;/Width&gt;&#10;      &lt;Height&gt;25.51181&lt;/Height&gt;&#10;    &lt;/SubGrid&gt;&#10;    &lt;SubGrid&gt;&#10;      &lt;Left&gt;757.7953&lt;/Left&gt;&#10;      &lt;Top&gt;25.51181&lt;/Top&gt;&#10;      &lt;Width&gt;151.1811&lt;/Width&gt;&#10;      &lt;Height&gt;25.51181&lt;/Height&gt;&#10;    &lt;/SubGrid&gt;&#10;    &lt;SubGrid&gt;&#10;      &lt;Left&gt;908.9764&lt;/Left&gt;&#10;      &lt;Top&gt;25.51181&lt;/Top&gt;&#10;      &lt;Width&gt;25.51181&lt;/Width&gt;&#10;      &lt;Height&gt;25.51181&lt;/Height&gt;&#10;    &lt;/SubGrid&gt;&#10;    &lt;SubGrid&gt;&#10;      &lt;Left&gt;25.51181&lt;/Left&gt;&#10;      &lt;Top&gt;218.976379&lt;/Top&gt;&#10;      &lt;Width&gt;25.51181&lt;/Width&gt;&#10;      &lt;Height&gt;25.51181&lt;/Height&gt;&#10;    &lt;/SubGrid&gt;&#10;    &lt;SubGrid&gt;&#10;      &lt;Left&gt;25.51181&lt;/Left&gt;&#10;      &lt;Top&gt;244.48819&lt;/Top&gt;&#10;      &lt;Width&gt;25.51181&lt;/Width&gt;&#10;      &lt;Height&gt;25.51181&lt;/Height&gt;&#10;    &lt;/SubGrid&gt;&#10;    &lt;SubGrid&gt;&#10;      &lt;Left&gt;25.51181&lt;/Left&gt;&#10;      &lt;Top&gt;270&lt;/Top&gt;&#10;      &lt;Width&gt;25.51181&lt;/Width&gt;&#10;      &lt;Height&gt;25.51181&lt;/Height&gt;&#10;    &lt;/SubGrid&gt;&#10;    &lt;SubGrid&gt;&#10;      &lt;Left&gt;25.51181&lt;/Left&gt;&#10;      &lt;Top&gt;295.5118&lt;/Top&gt;&#10;      &lt;Width&gt;25.51181&lt;/Width&gt;&#10;      &lt;Height&gt;25.51181&lt;/Height&gt;&#10;    &lt;/SubGrid&gt;&#10;    &lt;SubGrid&gt;&#10;      &lt;Left&gt;51.02362&lt;/Left&gt;&#10;      &lt;Top&gt;295.5118&lt;/Top&gt;&#10;      &lt;Width&gt;151.1811&lt;/Width&gt;&#10;      &lt;Height&gt;25.51181&lt;/Height&gt;&#10;    &lt;/SubGrid&gt;&#10;    &lt;SubGrid&gt;&#10;      &lt;Left&gt;202.204727&lt;/Left&gt;&#10;      &lt;Top&gt;295.5118&lt;/Top&gt;&#10;      &lt;Width&gt;25.51181&lt;/Width&gt;&#10;      &lt;Height&gt;25.51181&lt;/Height&gt;&#10;    &lt;/SubGrid&gt;&#10;    &lt;SubGrid&gt;&#10;      &lt;Left&gt;51.02362&lt;/Left&gt;&#10;      &lt;Top&gt;270&lt;/Top&gt;&#10;      &lt;Width&gt;151.1811&lt;/Width&gt;&#10;      &lt;Height&gt;25.51181&lt;/Height&gt;&#10;    &lt;/SubGrid&gt;&#10;    &lt;SubGrid&gt;&#10;      &lt;Left&gt;202.204727&lt;/Left&gt;&#10;      &lt;Top&gt;270&lt;/Top&gt;&#10;      &lt;Width&gt;25.51181&lt;/Width&gt;&#10;      &lt;Height&gt;25.51181&lt;/Height&gt;&#10;    &lt;/SubGrid&gt;&#10;    &lt;SubGrid&gt;&#10;      &lt;Left&gt;51.02362&lt;/Left&gt;&#10;      &lt;Top&gt;244.48819&lt;/Top&gt;&#10;      &lt;Width&gt;151.1811&lt;/Width&gt;&#10;      &lt;Height&gt;25.51181&lt;/Height&gt;&#10;    &lt;/SubGrid&gt;&#10;    &lt;SubGrid&gt;&#10;      &lt;Left&gt;202.204727&lt;/Left&gt;&#10;      &lt;Top&gt;244.48819&lt;/Top&gt;&#10;      &lt;Width&gt;25.51181&lt;/Width&gt;&#10;      &lt;Height&gt;25.51181&lt;/Height&gt;&#10;    &lt;/SubGrid&gt;&#10;    &lt;SubGrid&gt;&#10;      &lt;Left&gt;51.02362&lt;/Left&gt;&#10;      &lt;Top&gt;218.976379&lt;/Top&gt;&#10;      &lt;Width&gt;151.1811&lt;/Width&gt;&#10;      &lt;Height&gt;25.51181&lt;/Height&gt;&#10;    &lt;/SubGrid&gt;&#10;    &lt;SubGrid&gt;&#10;      &lt;Left&gt;202.204727&lt;/Left&gt;&#10;      &lt;Top&gt;218.976379&lt;/Top&gt;&#10;      &lt;Width&gt;25.51181&lt;/Width&gt;&#10;      &lt;Height&gt;25.51181&lt;/Height&gt;&#10;    &lt;/SubGrid&gt;&#10;    &lt;SubGrid&gt;&#10;      &lt;Left&gt;25.51181&lt;/Left&gt;&#10;      &lt;Top&gt;488.976379&lt;/Top&gt;&#10;      &lt;Width&gt;25.51181&lt;/Width&gt;&#10;      &lt;Height&gt;25.51181&lt;/Height&gt;&#10;    &lt;/SubGrid&gt;&#10;    &lt;SubGrid&gt;&#10;      &lt;Left&gt;51.02362&lt;/Left&gt;&#10;      &lt;Top&gt;488.976379&lt;/Top&gt;&#10;      &lt;Width&gt;151.1811&lt;/Width&gt;&#10;      &lt;Height&gt;25.51181&lt;/Height&gt;&#10;    &lt;/SubGrid&gt;&#10;    &lt;SubGrid&gt;&#10;      &lt;Left&gt;202.204727&lt;/Left&gt;&#10;      &lt;Top&gt;488.976379&lt;/Top&gt;&#10;      &lt;Width&gt;25.51181&lt;/Width&gt;&#10;      &lt;Height&gt;25.51181&lt;/Height&gt;&#10;    &lt;/SubGrid&gt;&#10;    &lt;SubGrid&gt;&#10;      &lt;Left&gt;227.716537&lt;/Left&gt;&#10;      &lt;Top&gt;488.976379&lt;/Top&gt;&#10;      &lt;Width&gt;151.1811&lt;/Width&gt;&#10;      &lt;Height&gt;25.51181&lt;/Height&gt;&#10;    &lt;/SubGrid&gt;&#10;    &lt;SubGrid&gt;&#10;      &lt;Left&gt;378.897644&lt;/Left&gt;&#10;      &lt;Top&gt;488.976379&lt;/Top&gt;&#10;      &lt;Width&gt;25.51181&lt;/Width&gt;&#10;      &lt;Height&gt;25.51181&lt;/Height&gt;&#10;    &lt;/SubGrid&gt;&#10;    &lt;SubGrid&gt;&#10;      &lt;Left&gt;404.409454&lt;/Left&gt;&#10;      &lt;Top&gt;488.976379&lt;/Top&gt;&#10;      &lt;Width&gt;151.1811&lt;/Width&gt;&#10;      &lt;Height&gt;25.51181&lt;/Height&gt;&#10;    &lt;/SubGrid&gt;&#10;    &lt;SubGrid&gt;&#10;      &lt;Left&gt;555.5906&lt;/Left&gt;&#10;      &lt;Top&gt;488.976379&lt;/Top&gt;&#10;      &lt;Width&gt;25.51181&lt;/Width&gt;&#10;      &lt;Height&gt;25.51181&lt;/Height&gt;&#10;    &lt;/SubGrid&gt;&#10;    &lt;SubGrid&gt;&#10;      &lt;Left&gt;581.102356&lt;/Left&gt;&#10;      &lt;Top&gt;488.976379&lt;/Top&gt;&#10;      &lt;Width&gt;151.1811&lt;/Width&gt;&#10;      &lt;Height&gt;25.51181&lt;/Height&gt;&#10;    &lt;/SubGrid&gt;&#10;    &lt;SubGrid&gt;&#10;      &lt;Left&gt;732.283447&lt;/Left&gt;&#10;      &lt;Top&gt;488.976379&lt;/Top&gt;&#10;      &lt;Width&gt;25.51181&lt;/Width&gt;&#10;      &lt;Height&gt;25.51181&lt;/Height&gt;&#10;    &lt;/SubGrid&gt;&#10;    &lt;SubGrid&gt;&#10;      &lt;Left&gt;757.7953&lt;/Left&gt;&#10;      &lt;Top&gt;488.976379&lt;/Top&gt;&#10;      &lt;Width&gt;151.1811&lt;/Width&gt;&#10;      &lt;Height&gt;25.51181&lt;/Height&gt;&#10;    &lt;/SubGrid&gt;&#10;    &lt;SubGrid&gt;&#10;      &lt;Left&gt;908.9764&lt;/Left&gt;&#10;      &lt;Top&gt;488.976379&lt;/Top&gt;&#10;      &lt;Width&gt;25.51181&lt;/Width&gt;&#10;      &lt;Height&gt;25.51181&lt;/Height&gt;&#10;    &lt;/SubGrid&gt;&#10;    &lt;SubGrid&gt;&#10;      &lt;Left&gt;227.716537&lt;/Left&gt;&#10;      &lt;Top&gt;295.5118&lt;/Top&gt;&#10;      &lt;Width&gt;151.1811&lt;/Width&gt;&#10;      &lt;Height&gt;25.51181&lt;/Height&gt;&#10;    &lt;/SubGrid&gt;&#10;    &lt;SubGrid&gt;&#10;      &lt;Left&gt;378.897644&lt;/Left&gt;&#10;      &lt;Top&gt;295.5118&lt;/Top&gt;&#10;      &lt;Width&gt;25.51181&lt;/Width&gt;&#10;      &lt;Height&gt;25.51181&lt;/Height&gt;&#10;    &lt;/SubGrid&gt;&#10;    &lt;SubGrid&gt;&#10;      &lt;Left&gt;227.716537&lt;/Left&gt;&#10;      &lt;Top&gt;270&lt;/Top&gt;&#10;      &lt;Width&gt;151.1811&lt;/Width&gt;&#10;      &lt;Height&gt;25.51181&lt;/Height&gt;&#10;    &lt;/SubGrid&gt;&#10;    &lt;SubGrid&gt;&#10;      &lt;Left&gt;378.897644&lt;/Left&gt;&#10;      &lt;Top&gt;270&lt;/Top&gt;&#10;      &lt;Width&gt;25.51181&lt;/Width&gt;&#10;      &lt;Height&gt;25.51181&lt;/Height&gt;&#10;    &lt;/SubGrid&gt;&#10;    &lt;SubGrid&gt;&#10;      &lt;Left&gt;227.716537&lt;/Left&gt;&#10;      &lt;Top&gt;244.48819&lt;/Top&gt;&#10;      &lt;Width&gt;151.1811&lt;/Width&gt;&#10;      &lt;Height&gt;25.51181&lt;/Height&gt;&#10;    &lt;/SubGrid&gt;&#10;    &lt;SubGrid&gt;&#10;      &lt;Left&gt;378.897644&lt;/Left&gt;&#10;      &lt;Top&gt;244.48819&lt;/Top&gt;&#10;      &lt;Width&gt;25.51181&lt;/Width&gt;&#10;      &lt;Height&gt;25.51181&lt;/Height&gt;&#10;    &lt;/SubGrid&gt;&#10;    &lt;SubGrid&gt;&#10;      &lt;Left&gt;227.716537&lt;/Left&gt;&#10;      &lt;Top&gt;218.976379&lt;/Top&gt;&#10;      &lt;Width&gt;151.1811&lt;/Width&gt;&#10;      &lt;Height&gt;25.51181&lt;/Height&gt;&#10;    &lt;/SubGrid&gt;&#10;    &lt;SubGrid&gt;&#10;      &lt;Left&gt;378.897644&lt;/Left&gt;&#10;      &lt;Top&gt;218.976379&lt;/Top&gt;&#10;      &lt;Width&gt;25.51181&lt;/Width&gt;&#10;      &lt;Height&gt;25.51181&lt;/Height&gt;&#10;    &lt;/SubGrid&gt;&#10;    &lt;SubGrid&gt;&#10;      &lt;Left&gt;404.409454&lt;/Left&gt;&#10;      &lt;Top&gt;295.5118&lt;/Top&gt;&#10;      &lt;Width&gt;151.1811&lt;/Width&gt;&#10;      &lt;Height&gt;25.51181&lt;/Height&gt;&#10;    &lt;/SubGrid&gt;&#10;    &lt;SubGrid&gt;&#10;      &lt;Left&gt;555.5906&lt;/Left&gt;&#10;      &lt;Top&gt;295.5118&lt;/Top&gt;&#10;      &lt;Width&gt;25.51181&lt;/Width&gt;&#10;      &lt;Height&gt;25.51181&lt;/Height&gt;&#10;    &lt;/SubGrid&gt;&#10;    &lt;SubGrid&gt;&#10;      &lt;Left&gt;404.409454&lt;/Left&gt;&#10;      &lt;Top&gt;270&lt;/Top&gt;&#10;      &lt;Width&gt;151.1811&lt;/Width&gt;&#10;      &lt;Height&gt;25.51181&lt;/Height&gt;&#10;    &lt;/SubGrid&gt;&#10;    &lt;SubGrid&gt;&#10;      &lt;Left&gt;555.5906&lt;/Left&gt;&#10;      &lt;Top&gt;270&lt;/Top&gt;&#10;      &lt;Width&gt;25.51181&lt;/Width&gt;&#10;      &lt;Height&gt;25.51181&lt;/Height&gt;&#10;    &lt;/SubGrid&gt;&#10;    &lt;SubGrid&gt;&#10;      &lt;Left&gt;404.409454&lt;/Left&gt;&#10;      &lt;Top&gt;244.48819&lt;/Top&gt;&#10;      &lt;Width&gt;151.1811&lt;/Width&gt;&#10;      &lt;Height&gt;25.51181&lt;/Height&gt;&#10;    &lt;/SubGrid&gt;&#10;    &lt;SubGrid&gt;&#10;      &lt;Left&gt;555.5906&lt;/Left&gt;&#10;      &lt;Top&gt;244.48819&lt;/Top&gt;&#10;      &lt;Width&gt;25.51181&lt;/Width&gt;&#10;      &lt;Height&gt;25.51181&lt;/Height&gt;&#10;    &lt;/SubGrid&gt;&#10;    &lt;SubGrid&gt;&#10;      &lt;Left&gt;404.409454&lt;/Left&gt;&#10;      &lt;Top&gt;218.976379&lt;/Top&gt;&#10;      &lt;Width&gt;151.1811&lt;/Width&gt;&#10;      &lt;Height&gt;25.51181&lt;/Height&gt;&#10;    &lt;/SubGrid&gt;&#10;    &lt;SubGrid&gt;&#10;      &lt;Left&gt;555.5906&lt;/Left&gt;&#10;      &lt;Top&gt;218.976379&lt;/Top&gt;&#10;      &lt;Width&gt;25.51181&lt;/Width&gt;&#10;      &lt;Height&gt;25.51181&lt;/Height&gt;&#10;    &lt;/SubGrid&gt;&#10;    &lt;SubGrid&gt;&#10;      &lt;Left&gt;581.102356&lt;/Left&gt;&#10;      &lt;Top&gt;295.5118&lt;/Top&gt;&#10;      &lt;Width&gt;151.1811&lt;/Width&gt;&#10;      &lt;Height&gt;25.51181&lt;/Height&gt;&#10;    &lt;/SubGrid&gt;&#10;    &lt;SubGrid&gt;&#10;      &lt;Left&gt;732.283447&lt;/Left&gt;&#10;      &lt;Top&gt;295.5118&lt;/Top&gt;&#10;      &lt;Width&gt;25.51181&lt;/Width&gt;&#10;      &lt;Height&gt;25.51181&lt;/Height&gt;&#10;    &lt;/SubGrid&gt;&#10;    &lt;SubGrid&gt;&#10;      &lt;Left&gt;581.102356&lt;/Left&gt;&#10;      &lt;Top&gt;270&lt;/Top&gt;&#10;      &lt;Width&gt;151.1811&lt;/Width&gt;&#10;      &lt;Height&gt;25.51181&lt;/Height&gt;&#10;    &lt;/SubGrid&gt;&#10;    &lt;SubGrid&gt;&#10;      &lt;Left&gt;732.283447&lt;/Left&gt;&#10;      &lt;Top&gt;270&lt;/Top&gt;&#10;      &lt;Width&gt;25.51181&lt;/Width&gt;&#10;      &lt;Height&gt;25.51181&lt;/Height&gt;&#10;    &lt;/SubGrid&gt;&#10;    &lt;SubGrid&gt;&#10;      &lt;Left&gt;581.102356&lt;/Left&gt;&#10;      &lt;Top&gt;244.48819&lt;/Top&gt;&#10;      &lt;Width&gt;151.1811&lt;/Width&gt;&#10;      &lt;Height&gt;25.51181&lt;/Height&gt;&#10;    &lt;/SubGrid&gt;&#10;    &lt;SubGrid&gt;&#10;      &lt;Left&gt;732.283447&lt;/Left&gt;&#10;      &lt;Top&gt;244.48819&lt;/Top&gt;&#10;      &lt;Width&gt;25.51181&lt;/Width&gt;&#10;      &lt;Height&gt;25.51181&lt;/Height&gt;&#10;    &lt;/SubGrid&gt;&#10;    &lt;SubGrid&gt;&#10;      &lt;Left&gt;581.102356&lt;/Left&gt;&#10;      &lt;Top&gt;218.976379&lt;/Top&gt;&#10;      &lt;Width&gt;151.1811&lt;/Width&gt;&#10;      &lt;Height&gt;25.51181&lt;/Height&gt;&#10;    &lt;/SubGrid&gt;&#10;    &lt;SubGrid&gt;&#10;      &lt;Left&gt;732.283447&lt;/Left&gt;&#10;      &lt;Top&gt;218.976379&lt;/Top&gt;&#10;      &lt;Width&gt;25.51181&lt;/Width&gt;&#10;      &lt;Height&gt;25.51181&lt;/Height&gt;&#10;    &lt;/SubGrid&gt;&#10;    &lt;SubGrid&gt;&#10;      &lt;Left&gt;757.7953&lt;/Left&gt;&#10;      &lt;Top&gt;295.5118&lt;/Top&gt;&#10;      &lt;Width&gt;151.1811&lt;/Width&gt;&#10;      &lt;Height&gt;25.51181&lt;/Height&gt;&#10;    &lt;/SubGrid&gt;&#10;    &lt;SubGrid&gt;&#10;      &lt;Left&gt;908.9764&lt;/Left&gt;&#10;      &lt;Top&gt;295.5118&lt;/Top&gt;&#10;      &lt;Width&gt;25.51181&lt;/Width&gt;&#10;      &lt;Height&gt;25.51181&lt;/Height&gt;&#10;    &lt;/SubGrid&gt;&#10;    &lt;SubGrid&gt;&#10;      &lt;Left&gt;757.7953&lt;/Left&gt;&#10;      &lt;Top&gt;270&lt;/Top&gt;&#10;      &lt;Width&gt;151.1811&lt;/Width&gt;&#10;      &lt;Height&gt;25.51181&lt;/Height&gt;&#10;    &lt;/SubGrid&gt;&#10;    &lt;SubGrid&gt;&#10;      &lt;Left&gt;908.9764&lt;/Left&gt;&#10;      &lt;Top&gt;270&lt;/Top&gt;&#10;      &lt;Width&gt;25.51181&lt;/Width&gt;&#10;      &lt;Height&gt;25.51181&lt;/Height&gt;&#10;    &lt;/SubGrid&gt;&#10;    &lt;SubGrid&gt;&#10;      &lt;Left&gt;757.7953&lt;/Left&gt;&#10;      &lt;Top&gt;244.48819&lt;/Top&gt;&#10;      &lt;Width&gt;151.1811&lt;/Width&gt;&#10;      &lt;Height&gt;25.51181&lt;/Height&gt;&#10;    &lt;/SubGrid&gt;&#10;    &lt;SubGrid&gt;&#10;      &lt;Left&gt;908.9764&lt;/Left&gt;&#10;      &lt;Top&gt;244.48819&lt;/Top&gt;&#10;      &lt;Width&gt;25.51181&lt;/Width&gt;&#10;      &lt;Height&gt;25.51181&lt;/Height&gt;&#10;    &lt;/SubGrid&gt;&#10;    &lt;SubGrid&gt;&#10;      &lt;Left&gt;757.7953&lt;/Left&gt;&#10;      &lt;Top&gt;218.976379&lt;/Top&gt;&#10;      &lt;Width&gt;151.1811&lt;/Width&gt;&#10;      &lt;Height&gt;25.51181&lt;/Height&gt;&#10;    &lt;/SubGrid&gt;&#10;    &lt;SubGrid&gt;&#10;      &lt;Left&gt;908.9764&lt;/Left&gt;&#10;      &lt;Top&gt;218.976379&lt;/Top&gt;&#10;      &lt;Width&gt;25.51181&lt;/Width&gt;&#10;      &lt;Height&gt;25.51181&lt;/Height&gt;&#10;    &lt;/SubGrid&gt;&#10;    &lt;SubGrid&gt;&#10;      &lt;Left&gt;25.51181&lt;/Left&gt;&#10;      &lt;Top&gt;51.02362&lt;/Top&gt;&#10;      &lt;Width&gt;25.51181&lt;/Width&gt;&#10;      &lt;Height&gt;167.952759&lt;/Height&gt;&#10;    &lt;/SubGrid&gt;&#10;    &lt;SubGrid&gt;&#10;      &lt;Left&gt;202.204727&lt;/Left&gt;&#10;      &lt;Top&gt;51.02362&lt;/Top&gt;&#10;      &lt;Width&gt;25.51181&lt;/Width&gt;&#10;      &lt;Height&gt;167.952759&lt;/Height&gt;&#10;    &lt;/SubGrid&gt;&#10;    &lt;SubGrid&gt;&#10;      &lt;Left&gt;378.897644&lt;/Left&gt;&#10;      &lt;Top&gt;51.02362&lt;/Top&gt;&#10;      &lt;Width&gt;25.51181&lt;/Width&gt;&#10;      &lt;Height&gt;167.952759&lt;/Height&gt;&#10;    &lt;/SubGrid&gt;&#10;    &lt;SubGrid&gt;&#10;      &lt;Left&gt;555.5906&lt;/Left&gt;&#10;      &lt;Top&gt;51.02362&lt;/Top&gt;&#10;      &lt;Width&gt;25.51181&lt;/Width&gt;&#10;      &lt;Height&gt;167.952759&lt;/Height&gt;&#10;    &lt;/SubGrid&gt;&#10;    &lt;SubGrid&gt;&#10;      &lt;Left&gt;732.283447&lt;/Left&gt;&#10;      &lt;Top&gt;51.02362&lt;/Top&gt;&#10;      &lt;Width&gt;25.51181&lt;/Width&gt;&#10;      &lt;Height&gt;167.952759&lt;/Height&gt;&#10;    &lt;/SubGrid&gt;&#10;    &lt;SubGrid&gt;&#10;      &lt;Left&gt;908.9764&lt;/Left&gt;&#10;      &lt;Top&gt;51.02362&lt;/Top&gt;&#10;      &lt;Width&gt;25.51181&lt;/Width&gt;&#10;      &lt;Height&gt;167.952759&lt;/Height&gt;&#10;    &lt;/SubGrid&gt;&#10;    &lt;SubGrid&gt;&#10;      &lt;Left&gt;25.51181&lt;/Left&gt;&#10;      &lt;Top&gt;321.023621&lt;/Top&gt;&#10;      &lt;Width&gt;25.51181&lt;/Width&gt;&#10;      &lt;Height&gt;167.952759&lt;/Height&gt;&#10;    &lt;/SubGrid&gt;&#10;    &lt;SubGrid&gt;&#10;      &lt;Left&gt;202.204727&lt;/Left&gt;&#10;      &lt;Top&gt;321.023621&lt;/Top&gt;&#10;      &lt;Width&gt;25.51181&lt;/Width&gt;&#10;      &lt;Height&gt;167.952759&lt;/Height&gt;&#10;    &lt;/SubGrid&gt;&#10;    &lt;SubGrid&gt;&#10;      &lt;Left&gt;378.897644&lt;/Left&gt;&#10;      &lt;Top&gt;321.023621&lt;/Top&gt;&#10;      &lt;Width&gt;25.51181&lt;/Width&gt;&#10;      &lt;Height&gt;167.952759&lt;/Height&gt;&#10;    &lt;/SubGrid&gt;&#10;    &lt;SubGrid&gt;&#10;      &lt;Left&gt;555.5906&lt;/Left&gt;&#10;      &lt;Top&gt;321.023621&lt;/Top&gt;&#10;      &lt;Width&gt;25.51181&lt;/Width&gt;&#10;      &lt;Height&gt;167.952759&lt;/Height&gt;&#10;    &lt;/SubGrid&gt;&#10;    &lt;SubGrid&gt;&#10;      &lt;Left&gt;732.283447&lt;/Left&gt;&#10;      &lt;Top&gt;321.023621&lt;/Top&gt;&#10;      &lt;Width&gt;25.51181&lt;/Width&gt;&#10;      &lt;Height&gt;167.952759&lt;/Height&gt;&#10;    &lt;/SubGrid&gt;&#10;    &lt;SubGrid&gt;&#10;      &lt;Left&gt;908.9764&lt;/Left&gt;&#10;      &lt;Top&gt;321.023621&lt;/Top&gt;&#10;      &lt;Width&gt;25.51181&lt;/Width&gt;&#10;      &lt;Height&gt;167.952759&lt;/Height&gt;&#10;    &lt;/SubGrid&gt;&#10;    &lt;SubGrid&gt;&#10;      &lt;Left&gt;51.02362&lt;/Left&gt;&#10;      &lt;Top&gt;51.02362&lt;/Top&gt;&#10;      &lt;Width&gt;151.1811&lt;/Width&gt;&#10;      &lt;Height&gt;167.952759&lt;/Height&gt;&#10;    &lt;/SubGrid&gt;&#10;    &lt;SubGrid&gt;&#10;      &lt;Left&gt;227.716537&lt;/Left&gt;&#10;      &lt;Top&gt;51.02362&lt;/Top&gt;&#10;      &lt;Width&gt;151.1811&lt;/Width&gt;&#10;      &lt;Height&gt;167.952759&lt;/Height&gt;&#10;    &lt;/SubGrid&gt;&#10;    &lt;SubGrid&gt;&#10;      &lt;Left&gt;404.409454&lt;/Left&gt;&#10;      &lt;Top&gt;51.02362&lt;/Top&gt;&#10;      &lt;Width&gt;151.1811&lt;/Width&gt;&#10;      &lt;Height&gt;167.952759&lt;/Height&gt;&#10;    &lt;/SubGrid&gt;&#10;    &lt;SubGrid&gt;&#10;      &lt;Left&gt;581.102356&lt;/Left&gt;&#10;      &lt;Top&gt;51.02362&lt;/Top&gt;&#10;      &lt;Width&gt;151.1811&lt;/Width&gt;&#10;      &lt;Height&gt;167.952759&lt;/Height&gt;&#10;    &lt;/SubGrid&gt;&#10;    &lt;SubGrid&gt;&#10;      &lt;Left&gt;757.7953&lt;/Left&gt;&#10;      &lt;Top&gt;51.02362&lt;/Top&gt;&#10;      &lt;Width&gt;151.1811&lt;/Width&gt;&#10;      &lt;Height&gt;167.952759&lt;/Height&gt;&#10;    &lt;/SubGrid&gt;&#10;    &lt;SubGrid&gt;&#10;      &lt;Left&gt;51.02362&lt;/Left&gt;&#10;      &lt;Top&gt;321.023621&lt;/Top&gt;&#10;      &lt;Width&gt;151.1811&lt;/Width&gt;&#10;      &lt;Height&gt;167.952759&lt;/Height&gt;&#10;    &lt;/SubGrid&gt;&#10;    &lt;SubGrid&gt;&#10;      &lt;Left&gt;227.716537&lt;/Left&gt;&#10;      &lt;Top&gt;321.023621&lt;/Top&gt;&#10;      &lt;Width&gt;151.1811&lt;/Width&gt;&#10;      &lt;Height&gt;167.952759&lt;/Height&gt;&#10;    &lt;/SubGrid&gt;&#10;    &lt;SubGrid&gt;&#10;      &lt;Left&gt;404.409454&lt;/Left&gt;&#10;      &lt;Top&gt;321.023621&lt;/Top&gt;&#10;      &lt;Width&gt;151.1811&lt;/Width&gt;&#10;      &lt;Height&gt;167.952759&lt;/Height&gt;&#10;    &lt;/SubGrid&gt;&#10;    &lt;SubGrid&gt;&#10;      &lt;Left&gt;581.102356&lt;/Left&gt;&#10;      &lt;Top&gt;321.023621&lt;/Top&gt;&#10;      &lt;Width&gt;151.1811&lt;/Width&gt;&#10;      &lt;Height&gt;167.952759&lt;/Height&gt;&#10;    &lt;/SubGrid&gt;&#10;    &lt;SubGrid&gt;&#10;      &lt;Left&gt;757.7953&lt;/Left&gt;&#10;      &lt;Top&gt;321.023621&lt;/Top&gt;&#10;      &lt;Width&gt;151.1811&lt;/Width&gt;&#10;      &lt;Height&gt;167.952759&lt;/Height&gt;&#10;    &lt;/SubGrid&gt;&#10;  &lt;/SubGrids&gt;&#10;  &lt;WorkArea&gt;&#10;    &lt;Top&gt;25.51181&lt;/Top&gt;&#10;    &lt;Left&gt;25.51181&lt;/Left&gt;&#10;    &lt;Width&gt;908.9764&lt;/Width&gt;&#10;    &lt;Height&gt;488.976379&lt;/Height&gt;&#10;  &lt;/WorkArea&gt;&#10;  &lt;AspectW&gt;-1&lt;/AspectW&gt;&#10;  &lt;AspectH&gt;-1&lt;/AspectH&gt;&#10;  &lt;Width&gt;960&lt;/Width&gt;&#10;  &lt;Height&gt;540&lt;/Height&gt;&#10;  &lt;HGap&gt;5&lt;/HGap&gt;&#10;  &lt;VGap&gt;5&lt;/VGap&gt;&#10;  &lt;OfficeVersion&gt;-1&lt;/OfficeVersion&gt;&#10;&lt;/GridTheme&gt;" hidden="1">
            <a:extLst>
              <a:ext uri="{FF2B5EF4-FFF2-40B4-BE49-F238E27FC236}">
                <a16:creationId xmlns:a16="http://schemas.microsoft.com/office/drawing/2014/main" id="{F5F0A4E1-4330-49F4-88F5-A83195F8511C}"/>
              </a:ext>
            </a:extLst>
          </p:cNvPr>
          <p:cNvSpPr/>
          <p:nvPr userDrawn="1"/>
        </p:nvSpPr>
        <p:spPr>
          <a:xfrm>
            <a:off x="324000" y="324000"/>
            <a:ext cx="11544000" cy="6210000"/>
          </a:xfrm>
          <a:prstGeom prst="rect">
            <a:avLst/>
          </a:prstGeom>
          <a:solidFill>
            <a:srgbClr val="E6E6E6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30BD45F-E3FD-4877-8E01-D258D6C49ED2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32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1F8F4EB-98F9-49C6-AD23-0434FEEA7DAD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648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461F43A-D29F-4117-83B4-78ECC6A90694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2568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3885B838-2022-4A1F-A84B-BB1127E2EE43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2892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AC6417FB-6B96-4CAA-9A61-CE3C85379335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4812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88F2338E-050E-4997-B5FD-16609E6B05AC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5136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65330914-84C1-4EFF-8088-9FF9153B21A3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7056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0D9F1F0C-68CC-4F13-A58D-7D5850D6BABB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7380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CD1A103-17AC-4A34-8A1D-92E20B67C019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9300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6D17E478-3C99-48E5-91A4-253FD970A082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9624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ACBDE3FC-87C8-4EA6-8040-812BA3745D76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1154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994EE5B0-B3FC-43D9-8B31-B03CA4819265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32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71B943CE-F983-40CB-852B-B348DA0EECF9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32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195AE9FF-57B5-4B28-95BD-65EB616F8339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32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09C4273C-D9B3-4E1C-BECF-E403BC0FED81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32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D61A9C98-DFAC-4C93-9FC3-FA4B7268AFD4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648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2738953D-847C-44BC-BB1D-3E35D57608D4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2568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A85DD5C0-07B7-493F-ACD2-090488BDD5B6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648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2D03EC4E-106A-492D-9392-E8DAE462F1BE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2568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id="{20022031-21E7-4D6F-92EB-D2DDACC3013D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648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0D8C0033-6DD1-44FA-8D1E-C266A6CB5E58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2568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5405C511-8E76-4F70-B418-D42EFC88B59C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648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id="{3A318B50-011A-4077-B856-5AA6365091AC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2568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id="{6A2BCA5B-FE07-43B1-A4B7-31BD6164A6E4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32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5C40FFBD-7783-45AC-8A2B-097F0420F8BE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648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4CEBE773-5EE2-48C7-957B-8390AB5ACC07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2568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id="{A88B1085-4452-48B2-ABE2-B39A1F2C8B5C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2892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id="{35677462-D07F-483C-9C29-E04937D96970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4812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719982BD-DEFC-4091-A576-C424DBA3C4DD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5136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id="{09DABF0B-9E1E-4C4B-B44A-B858D0F51253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7056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id="{4C2D3A6A-66FD-4AEE-8C1E-B6E5EECF6AC4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7380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id="{2D1F338B-CF9E-4B33-946A-4DB709760AF6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9300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id="{C62DDC7A-A75D-47D1-8199-CF07F2BDFB07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9624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id="{58B5BE77-B2A7-4D7F-8E0B-C3E954ED65B5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1154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id="{FCFBBBC3-8FB6-4FAC-ADAD-D2D96E64A22C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2892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id="{2C5A7DD2-B5CE-413A-9B54-583BA9EBCDFF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4812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id="{D9461BA4-4B7F-4140-AC43-136B90730752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2892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63" name="Rectangle 62" hidden="1">
            <a:extLst>
              <a:ext uri="{FF2B5EF4-FFF2-40B4-BE49-F238E27FC236}">
                <a16:creationId xmlns:a16="http://schemas.microsoft.com/office/drawing/2014/main" id="{DEB946CF-96A1-4659-9385-72D850C9C025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4812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64" name="Rectangle 63" hidden="1">
            <a:extLst>
              <a:ext uri="{FF2B5EF4-FFF2-40B4-BE49-F238E27FC236}">
                <a16:creationId xmlns:a16="http://schemas.microsoft.com/office/drawing/2014/main" id="{742C5205-4F49-47AB-B503-BC7F63858642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2892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65" name="Rectangle 64" hidden="1">
            <a:extLst>
              <a:ext uri="{FF2B5EF4-FFF2-40B4-BE49-F238E27FC236}">
                <a16:creationId xmlns:a16="http://schemas.microsoft.com/office/drawing/2014/main" id="{5B2DC920-B604-43E9-ADC1-B26167353D44}"/>
              </a:ext>
            </a:extLst>
          </p:cNvPr>
          <p:cNvSpPr/>
          <p:nvPr userDrawn="1">
            <p:custDataLst>
              <p:tags r:id="rId76"/>
            </p:custDataLst>
          </p:nvPr>
        </p:nvSpPr>
        <p:spPr>
          <a:xfrm>
            <a:off x="4812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id="{419CE6B2-B4FC-4BBD-937B-2FAF2EC436EB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2892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67" name="Rectangle 66" hidden="1">
            <a:extLst>
              <a:ext uri="{FF2B5EF4-FFF2-40B4-BE49-F238E27FC236}">
                <a16:creationId xmlns:a16="http://schemas.microsoft.com/office/drawing/2014/main" id="{24F744BF-7A2A-44A1-99AF-BF4D80F50B40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4812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68" name="Rectangle 67" hidden="1">
            <a:extLst>
              <a:ext uri="{FF2B5EF4-FFF2-40B4-BE49-F238E27FC236}">
                <a16:creationId xmlns:a16="http://schemas.microsoft.com/office/drawing/2014/main" id="{4A561C12-BD2C-4ABE-9ACE-047842A9B253}"/>
              </a:ext>
            </a:extLst>
          </p:cNvPr>
          <p:cNvSpPr/>
          <p:nvPr userDrawn="1">
            <p:custDataLst>
              <p:tags r:id="rId79"/>
            </p:custDataLst>
          </p:nvPr>
        </p:nvSpPr>
        <p:spPr>
          <a:xfrm>
            <a:off x="5136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id="{1F79B3EE-7015-44C0-B98B-D7976E3CC6C0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7056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70" name="Rectangle 69" hidden="1">
            <a:extLst>
              <a:ext uri="{FF2B5EF4-FFF2-40B4-BE49-F238E27FC236}">
                <a16:creationId xmlns:a16="http://schemas.microsoft.com/office/drawing/2014/main" id="{55195DF3-05B5-49EC-8E2A-6D131BFB07E4}"/>
              </a:ext>
            </a:extLst>
          </p:cNvPr>
          <p:cNvSpPr/>
          <p:nvPr userDrawn="1">
            <p:custDataLst>
              <p:tags r:id="rId81"/>
            </p:custDataLst>
          </p:nvPr>
        </p:nvSpPr>
        <p:spPr>
          <a:xfrm>
            <a:off x="5136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id="{6C7ACCBF-3785-451F-8D26-06EB8169ED29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7056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0DB1FB36-F0B8-4569-B24C-A7FE882E3A0D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5136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73" name="Rectangle 72" hidden="1">
            <a:extLst>
              <a:ext uri="{FF2B5EF4-FFF2-40B4-BE49-F238E27FC236}">
                <a16:creationId xmlns:a16="http://schemas.microsoft.com/office/drawing/2014/main" id="{A16BF7E9-5EB1-4763-B3B3-B9BDDFCE9368}"/>
              </a:ext>
            </a:extLst>
          </p:cNvPr>
          <p:cNvSpPr/>
          <p:nvPr userDrawn="1">
            <p:custDataLst>
              <p:tags r:id="rId84"/>
            </p:custDataLst>
          </p:nvPr>
        </p:nvSpPr>
        <p:spPr>
          <a:xfrm>
            <a:off x="7056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74" name="Rectangle 73" hidden="1">
            <a:extLst>
              <a:ext uri="{FF2B5EF4-FFF2-40B4-BE49-F238E27FC236}">
                <a16:creationId xmlns:a16="http://schemas.microsoft.com/office/drawing/2014/main" id="{B859330A-8EF0-4EC1-8579-E436CA633192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5136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75" name="Rectangle 74" hidden="1">
            <a:extLst>
              <a:ext uri="{FF2B5EF4-FFF2-40B4-BE49-F238E27FC236}">
                <a16:creationId xmlns:a16="http://schemas.microsoft.com/office/drawing/2014/main" id="{28ADAA1F-5B13-4CA7-92F6-B9BD284DD1E1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7056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id="{D063FCBC-0F82-4BF7-A4F3-63086372BCA1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7380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77" name="Rectangle 76" hidden="1">
            <a:extLst>
              <a:ext uri="{FF2B5EF4-FFF2-40B4-BE49-F238E27FC236}">
                <a16:creationId xmlns:a16="http://schemas.microsoft.com/office/drawing/2014/main" id="{CE645546-D2AC-47E6-9FEE-B872688AACBC}"/>
              </a:ext>
            </a:extLst>
          </p:cNvPr>
          <p:cNvSpPr/>
          <p:nvPr userDrawn="1">
            <p:custDataLst>
              <p:tags r:id="rId88"/>
            </p:custDataLst>
          </p:nvPr>
        </p:nvSpPr>
        <p:spPr>
          <a:xfrm>
            <a:off x="9300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78" name="Rectangle 77" hidden="1">
            <a:extLst>
              <a:ext uri="{FF2B5EF4-FFF2-40B4-BE49-F238E27FC236}">
                <a16:creationId xmlns:a16="http://schemas.microsoft.com/office/drawing/2014/main" id="{67D40869-4909-44AB-ADF7-F7E881C8F368}"/>
              </a:ext>
            </a:extLst>
          </p:cNvPr>
          <p:cNvSpPr/>
          <p:nvPr userDrawn="1">
            <p:custDataLst>
              <p:tags r:id="rId89"/>
            </p:custDataLst>
          </p:nvPr>
        </p:nvSpPr>
        <p:spPr>
          <a:xfrm>
            <a:off x="7380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79" name="Rectangle 78" hidden="1">
            <a:extLst>
              <a:ext uri="{FF2B5EF4-FFF2-40B4-BE49-F238E27FC236}">
                <a16:creationId xmlns:a16="http://schemas.microsoft.com/office/drawing/2014/main" id="{135A9F82-A30E-49D6-85D5-F27123AF0F10}"/>
              </a:ext>
            </a:extLst>
          </p:cNvPr>
          <p:cNvSpPr/>
          <p:nvPr userDrawn="1">
            <p:custDataLst>
              <p:tags r:id="rId90"/>
            </p:custDataLst>
          </p:nvPr>
        </p:nvSpPr>
        <p:spPr>
          <a:xfrm>
            <a:off x="9300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80" name="Rectangle 79" hidden="1">
            <a:extLst>
              <a:ext uri="{FF2B5EF4-FFF2-40B4-BE49-F238E27FC236}">
                <a16:creationId xmlns:a16="http://schemas.microsoft.com/office/drawing/2014/main" id="{95983F4E-3EE6-4BD7-AD35-C47ED01C5ED4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7380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81" name="Rectangle 80" hidden="1">
            <a:extLst>
              <a:ext uri="{FF2B5EF4-FFF2-40B4-BE49-F238E27FC236}">
                <a16:creationId xmlns:a16="http://schemas.microsoft.com/office/drawing/2014/main" id="{F717EFA4-0ED4-4A46-9AFD-0F0A6E65D253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9300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id="{6E85224F-39CC-4044-9201-BDF5309E2509}"/>
              </a:ext>
            </a:extLst>
          </p:cNvPr>
          <p:cNvSpPr/>
          <p:nvPr userDrawn="1">
            <p:custDataLst>
              <p:tags r:id="rId93"/>
            </p:custDataLst>
          </p:nvPr>
        </p:nvSpPr>
        <p:spPr>
          <a:xfrm>
            <a:off x="7380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C5FFBE79-1CFF-48A7-9FA3-6763881AA963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9300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84" name="Rectangle 83" hidden="1">
            <a:extLst>
              <a:ext uri="{FF2B5EF4-FFF2-40B4-BE49-F238E27FC236}">
                <a16:creationId xmlns:a16="http://schemas.microsoft.com/office/drawing/2014/main" id="{C7039B6D-AC56-40A5-858D-599754E1E0AD}"/>
              </a:ext>
            </a:extLst>
          </p:cNvPr>
          <p:cNvSpPr/>
          <p:nvPr userDrawn="1">
            <p:custDataLst>
              <p:tags r:id="rId95"/>
            </p:custDataLst>
          </p:nvPr>
        </p:nvSpPr>
        <p:spPr>
          <a:xfrm>
            <a:off x="9624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85" name="Rectangle 84" hidden="1">
            <a:extLst>
              <a:ext uri="{FF2B5EF4-FFF2-40B4-BE49-F238E27FC236}">
                <a16:creationId xmlns:a16="http://schemas.microsoft.com/office/drawing/2014/main" id="{71018EC8-1FEE-415C-B1E0-DAFC251C6F4F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1154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id="{33D0B803-F928-4AB8-9FA8-7A2550C65926}"/>
              </a:ext>
            </a:extLst>
          </p:cNvPr>
          <p:cNvSpPr/>
          <p:nvPr userDrawn="1">
            <p:custDataLst>
              <p:tags r:id="rId97"/>
            </p:custDataLst>
          </p:nvPr>
        </p:nvSpPr>
        <p:spPr>
          <a:xfrm>
            <a:off x="9624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id="{A74BCB38-7D1D-4BB9-94CE-ADBDC5DAB010}"/>
              </a:ext>
            </a:extLst>
          </p:cNvPr>
          <p:cNvSpPr/>
          <p:nvPr userDrawn="1">
            <p:custDataLst>
              <p:tags r:id="rId98"/>
            </p:custDataLst>
          </p:nvPr>
        </p:nvSpPr>
        <p:spPr>
          <a:xfrm>
            <a:off x="1154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88" name="Rectangle 87" hidden="1">
            <a:extLst>
              <a:ext uri="{FF2B5EF4-FFF2-40B4-BE49-F238E27FC236}">
                <a16:creationId xmlns:a16="http://schemas.microsoft.com/office/drawing/2014/main" id="{6E6BC775-1DC0-42CB-BA95-EB6F78CFD0FE}"/>
              </a:ext>
            </a:extLst>
          </p:cNvPr>
          <p:cNvSpPr/>
          <p:nvPr userDrawn="1">
            <p:custDataLst>
              <p:tags r:id="rId99"/>
            </p:custDataLst>
          </p:nvPr>
        </p:nvSpPr>
        <p:spPr>
          <a:xfrm>
            <a:off x="9624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89" name="Rectangle 88" hidden="1">
            <a:extLst>
              <a:ext uri="{FF2B5EF4-FFF2-40B4-BE49-F238E27FC236}">
                <a16:creationId xmlns:a16="http://schemas.microsoft.com/office/drawing/2014/main" id="{95792BBB-2B34-4739-8C69-B66E64F8A279}"/>
              </a:ext>
            </a:extLst>
          </p:cNvPr>
          <p:cNvSpPr/>
          <p:nvPr userDrawn="1">
            <p:custDataLst>
              <p:tags r:id="rId100"/>
            </p:custDataLst>
          </p:nvPr>
        </p:nvSpPr>
        <p:spPr>
          <a:xfrm>
            <a:off x="1154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90" name="Rectangle 89" hidden="1">
            <a:extLst>
              <a:ext uri="{FF2B5EF4-FFF2-40B4-BE49-F238E27FC236}">
                <a16:creationId xmlns:a16="http://schemas.microsoft.com/office/drawing/2014/main" id="{E8FDD868-6922-48B4-976C-6F9677663DAF}"/>
              </a:ext>
            </a:extLst>
          </p:cNvPr>
          <p:cNvSpPr/>
          <p:nvPr userDrawn="1">
            <p:custDataLst>
              <p:tags r:id="rId101"/>
            </p:custDataLst>
          </p:nvPr>
        </p:nvSpPr>
        <p:spPr>
          <a:xfrm>
            <a:off x="9624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id="{E3A8AF86-B9FD-4654-82BA-248AF9D72F7C}"/>
              </a:ext>
            </a:extLst>
          </p:cNvPr>
          <p:cNvSpPr/>
          <p:nvPr userDrawn="1">
            <p:custDataLst>
              <p:tags r:id="rId102"/>
            </p:custDataLst>
          </p:nvPr>
        </p:nvSpPr>
        <p:spPr>
          <a:xfrm>
            <a:off x="1154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92" name="Rectangle 91" hidden="1">
            <a:extLst>
              <a:ext uri="{FF2B5EF4-FFF2-40B4-BE49-F238E27FC236}">
                <a16:creationId xmlns:a16="http://schemas.microsoft.com/office/drawing/2014/main" id="{F1579785-2978-4428-A96D-6D6718940F9D}"/>
              </a:ext>
            </a:extLst>
          </p:cNvPr>
          <p:cNvSpPr/>
          <p:nvPr userDrawn="1">
            <p:custDataLst>
              <p:tags r:id="rId103"/>
            </p:custDataLst>
          </p:nvPr>
        </p:nvSpPr>
        <p:spPr>
          <a:xfrm>
            <a:off x="32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93" name="Rectangle 92" hidden="1">
            <a:extLst>
              <a:ext uri="{FF2B5EF4-FFF2-40B4-BE49-F238E27FC236}">
                <a16:creationId xmlns:a16="http://schemas.microsoft.com/office/drawing/2014/main" id="{0584FA97-4AB6-4A5E-91FB-95E9E602EA26}"/>
              </a:ext>
            </a:extLst>
          </p:cNvPr>
          <p:cNvSpPr/>
          <p:nvPr userDrawn="1">
            <p:custDataLst>
              <p:tags r:id="rId104"/>
            </p:custDataLst>
          </p:nvPr>
        </p:nvSpPr>
        <p:spPr>
          <a:xfrm>
            <a:off x="2568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94" name="Rectangle 93" hidden="1">
            <a:extLst>
              <a:ext uri="{FF2B5EF4-FFF2-40B4-BE49-F238E27FC236}">
                <a16:creationId xmlns:a16="http://schemas.microsoft.com/office/drawing/2014/main" id="{A48EE25C-475F-4316-B6A2-011BEE3BCD92}"/>
              </a:ext>
            </a:extLst>
          </p:cNvPr>
          <p:cNvSpPr/>
          <p:nvPr userDrawn="1">
            <p:custDataLst>
              <p:tags r:id="rId105"/>
            </p:custDataLst>
          </p:nvPr>
        </p:nvSpPr>
        <p:spPr>
          <a:xfrm>
            <a:off x="4812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id="{7E857FE4-C9A3-45B7-B041-66EE09495EEC}"/>
              </a:ext>
            </a:extLst>
          </p:cNvPr>
          <p:cNvSpPr/>
          <p:nvPr userDrawn="1">
            <p:custDataLst>
              <p:tags r:id="rId106"/>
            </p:custDataLst>
          </p:nvPr>
        </p:nvSpPr>
        <p:spPr>
          <a:xfrm>
            <a:off x="7056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96" name="Rectangle 95" hidden="1">
            <a:extLst>
              <a:ext uri="{FF2B5EF4-FFF2-40B4-BE49-F238E27FC236}">
                <a16:creationId xmlns:a16="http://schemas.microsoft.com/office/drawing/2014/main" id="{9B5A1CBD-EB02-4B45-AF38-AAD0F53B4AD5}"/>
              </a:ext>
            </a:extLst>
          </p:cNvPr>
          <p:cNvSpPr/>
          <p:nvPr userDrawn="1">
            <p:custDataLst>
              <p:tags r:id="rId107"/>
            </p:custDataLst>
          </p:nvPr>
        </p:nvSpPr>
        <p:spPr>
          <a:xfrm>
            <a:off x="9300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id="{B80B4760-EF40-4F2E-9A91-131FFC1E37B4}"/>
              </a:ext>
            </a:extLst>
          </p:cNvPr>
          <p:cNvSpPr/>
          <p:nvPr userDrawn="1">
            <p:custDataLst>
              <p:tags r:id="rId108"/>
            </p:custDataLst>
          </p:nvPr>
        </p:nvSpPr>
        <p:spPr>
          <a:xfrm>
            <a:off x="1154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98" name="Rectangle 97" hidden="1">
            <a:extLst>
              <a:ext uri="{FF2B5EF4-FFF2-40B4-BE49-F238E27FC236}">
                <a16:creationId xmlns:a16="http://schemas.microsoft.com/office/drawing/2014/main" id="{8E8A7F77-3721-4815-B970-1D077CD2DA75}"/>
              </a:ext>
            </a:extLst>
          </p:cNvPr>
          <p:cNvSpPr/>
          <p:nvPr userDrawn="1">
            <p:custDataLst>
              <p:tags r:id="rId109"/>
            </p:custDataLst>
          </p:nvPr>
        </p:nvSpPr>
        <p:spPr>
          <a:xfrm>
            <a:off x="32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99" name="Rectangle 98" hidden="1">
            <a:extLst>
              <a:ext uri="{FF2B5EF4-FFF2-40B4-BE49-F238E27FC236}">
                <a16:creationId xmlns:a16="http://schemas.microsoft.com/office/drawing/2014/main" id="{55C42CA1-292D-4FB8-8399-74D1AD374EBE}"/>
              </a:ext>
            </a:extLst>
          </p:cNvPr>
          <p:cNvSpPr/>
          <p:nvPr userDrawn="1">
            <p:custDataLst>
              <p:tags r:id="rId110"/>
            </p:custDataLst>
          </p:nvPr>
        </p:nvSpPr>
        <p:spPr>
          <a:xfrm>
            <a:off x="2568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00" name="Rectangle 99" hidden="1">
            <a:extLst>
              <a:ext uri="{FF2B5EF4-FFF2-40B4-BE49-F238E27FC236}">
                <a16:creationId xmlns:a16="http://schemas.microsoft.com/office/drawing/2014/main" id="{76F4910F-0223-4A58-B2B3-CC1032CA6A96}"/>
              </a:ext>
            </a:extLst>
          </p:cNvPr>
          <p:cNvSpPr/>
          <p:nvPr userDrawn="1">
            <p:custDataLst>
              <p:tags r:id="rId111"/>
            </p:custDataLst>
          </p:nvPr>
        </p:nvSpPr>
        <p:spPr>
          <a:xfrm>
            <a:off x="4812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01" name="Rectangle 100" hidden="1">
            <a:extLst>
              <a:ext uri="{FF2B5EF4-FFF2-40B4-BE49-F238E27FC236}">
                <a16:creationId xmlns:a16="http://schemas.microsoft.com/office/drawing/2014/main" id="{309CA6FE-3AA4-4E04-82CE-33A9467E0E6A}"/>
              </a:ext>
            </a:extLst>
          </p:cNvPr>
          <p:cNvSpPr/>
          <p:nvPr userDrawn="1">
            <p:custDataLst>
              <p:tags r:id="rId112"/>
            </p:custDataLst>
          </p:nvPr>
        </p:nvSpPr>
        <p:spPr>
          <a:xfrm>
            <a:off x="7056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02" name="Rectangle 101" hidden="1">
            <a:extLst>
              <a:ext uri="{FF2B5EF4-FFF2-40B4-BE49-F238E27FC236}">
                <a16:creationId xmlns:a16="http://schemas.microsoft.com/office/drawing/2014/main" id="{D3FAE458-E122-4E17-A2BB-860390DB639B}"/>
              </a:ext>
            </a:extLst>
          </p:cNvPr>
          <p:cNvSpPr/>
          <p:nvPr userDrawn="1">
            <p:custDataLst>
              <p:tags r:id="rId113"/>
            </p:custDataLst>
          </p:nvPr>
        </p:nvSpPr>
        <p:spPr>
          <a:xfrm>
            <a:off x="9300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09CCF6D6-3C14-49F1-9CCF-BB2BB02BA463}"/>
              </a:ext>
            </a:extLst>
          </p:cNvPr>
          <p:cNvSpPr/>
          <p:nvPr userDrawn="1">
            <p:custDataLst>
              <p:tags r:id="rId114"/>
            </p:custDataLst>
          </p:nvPr>
        </p:nvSpPr>
        <p:spPr>
          <a:xfrm>
            <a:off x="1154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04" name="Rectangle 103" hidden="1">
            <a:extLst>
              <a:ext uri="{FF2B5EF4-FFF2-40B4-BE49-F238E27FC236}">
                <a16:creationId xmlns:a16="http://schemas.microsoft.com/office/drawing/2014/main" id="{89199ED3-108C-4CB1-85A2-7274AF6D76B6}"/>
              </a:ext>
            </a:extLst>
          </p:cNvPr>
          <p:cNvSpPr/>
          <p:nvPr userDrawn="1">
            <p:custDataLst>
              <p:tags r:id="rId115"/>
            </p:custDataLst>
          </p:nvPr>
        </p:nvSpPr>
        <p:spPr>
          <a:xfrm>
            <a:off x="648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05" name="Rectangle 104" hidden="1">
            <a:extLst>
              <a:ext uri="{FF2B5EF4-FFF2-40B4-BE49-F238E27FC236}">
                <a16:creationId xmlns:a16="http://schemas.microsoft.com/office/drawing/2014/main" id="{F4889CBE-7887-46C6-99BA-4A154FF96016}"/>
              </a:ext>
            </a:extLst>
          </p:cNvPr>
          <p:cNvSpPr/>
          <p:nvPr userDrawn="1">
            <p:custDataLst>
              <p:tags r:id="rId116"/>
            </p:custDataLst>
          </p:nvPr>
        </p:nvSpPr>
        <p:spPr>
          <a:xfrm>
            <a:off x="2892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06" name="Rectangle 105" hidden="1">
            <a:extLst>
              <a:ext uri="{FF2B5EF4-FFF2-40B4-BE49-F238E27FC236}">
                <a16:creationId xmlns:a16="http://schemas.microsoft.com/office/drawing/2014/main" id="{2714EDDA-63CD-4C57-BF1D-55D84EF7DA1C}"/>
              </a:ext>
            </a:extLst>
          </p:cNvPr>
          <p:cNvSpPr/>
          <p:nvPr userDrawn="1">
            <p:custDataLst>
              <p:tags r:id="rId117"/>
            </p:custDataLst>
          </p:nvPr>
        </p:nvSpPr>
        <p:spPr>
          <a:xfrm>
            <a:off x="5136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07" name="Rectangle 106" hidden="1">
            <a:extLst>
              <a:ext uri="{FF2B5EF4-FFF2-40B4-BE49-F238E27FC236}">
                <a16:creationId xmlns:a16="http://schemas.microsoft.com/office/drawing/2014/main" id="{5A4A540B-AB24-4508-BDE2-193816CE6C2F}"/>
              </a:ext>
            </a:extLst>
          </p:cNvPr>
          <p:cNvSpPr/>
          <p:nvPr userDrawn="1">
            <p:custDataLst>
              <p:tags r:id="rId118"/>
            </p:custDataLst>
          </p:nvPr>
        </p:nvSpPr>
        <p:spPr>
          <a:xfrm>
            <a:off x="7380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08" name="Rectangle 107" hidden="1">
            <a:extLst>
              <a:ext uri="{FF2B5EF4-FFF2-40B4-BE49-F238E27FC236}">
                <a16:creationId xmlns:a16="http://schemas.microsoft.com/office/drawing/2014/main" id="{2E588317-42FC-4AFD-BF07-4EEAEA17B0FB}"/>
              </a:ext>
            </a:extLst>
          </p:cNvPr>
          <p:cNvSpPr/>
          <p:nvPr userDrawn="1">
            <p:custDataLst>
              <p:tags r:id="rId119"/>
            </p:custDataLst>
          </p:nvPr>
        </p:nvSpPr>
        <p:spPr>
          <a:xfrm>
            <a:off x="9624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09" name="Rectangle 108" hidden="1">
            <a:extLst>
              <a:ext uri="{FF2B5EF4-FFF2-40B4-BE49-F238E27FC236}">
                <a16:creationId xmlns:a16="http://schemas.microsoft.com/office/drawing/2014/main" id="{409B9FF3-D5DB-4C25-942C-75E24E0BD588}"/>
              </a:ext>
            </a:extLst>
          </p:cNvPr>
          <p:cNvSpPr/>
          <p:nvPr userDrawn="1">
            <p:custDataLst>
              <p:tags r:id="rId120"/>
            </p:custDataLst>
          </p:nvPr>
        </p:nvSpPr>
        <p:spPr>
          <a:xfrm>
            <a:off x="648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10" name="Rectangle 109" hidden="1">
            <a:extLst>
              <a:ext uri="{FF2B5EF4-FFF2-40B4-BE49-F238E27FC236}">
                <a16:creationId xmlns:a16="http://schemas.microsoft.com/office/drawing/2014/main" id="{B34EB183-B95A-4A10-93F6-B2E688291320}"/>
              </a:ext>
            </a:extLst>
          </p:cNvPr>
          <p:cNvSpPr/>
          <p:nvPr userDrawn="1">
            <p:custDataLst>
              <p:tags r:id="rId121"/>
            </p:custDataLst>
          </p:nvPr>
        </p:nvSpPr>
        <p:spPr>
          <a:xfrm>
            <a:off x="2892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11" name="Rectangle 110" hidden="1">
            <a:extLst>
              <a:ext uri="{FF2B5EF4-FFF2-40B4-BE49-F238E27FC236}">
                <a16:creationId xmlns:a16="http://schemas.microsoft.com/office/drawing/2014/main" id="{9445802B-D13B-4448-BCCA-EAC068866CD3}"/>
              </a:ext>
            </a:extLst>
          </p:cNvPr>
          <p:cNvSpPr/>
          <p:nvPr userDrawn="1">
            <p:custDataLst>
              <p:tags r:id="rId122"/>
            </p:custDataLst>
          </p:nvPr>
        </p:nvSpPr>
        <p:spPr>
          <a:xfrm>
            <a:off x="5136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12" name="Rectangle 111" hidden="1">
            <a:extLst>
              <a:ext uri="{FF2B5EF4-FFF2-40B4-BE49-F238E27FC236}">
                <a16:creationId xmlns:a16="http://schemas.microsoft.com/office/drawing/2014/main" id="{C10B3B33-18E6-4256-821F-887D5B33BF81}"/>
              </a:ext>
            </a:extLst>
          </p:cNvPr>
          <p:cNvSpPr/>
          <p:nvPr userDrawn="1">
            <p:custDataLst>
              <p:tags r:id="rId123"/>
            </p:custDataLst>
          </p:nvPr>
        </p:nvSpPr>
        <p:spPr>
          <a:xfrm>
            <a:off x="7380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13" name="Rectangle 112" hidden="1">
            <a:extLst>
              <a:ext uri="{FF2B5EF4-FFF2-40B4-BE49-F238E27FC236}">
                <a16:creationId xmlns:a16="http://schemas.microsoft.com/office/drawing/2014/main" id="{C76950B1-616E-4DAB-A1C9-C18FEC9C31D4}"/>
              </a:ext>
            </a:extLst>
          </p:cNvPr>
          <p:cNvSpPr/>
          <p:nvPr userDrawn="1">
            <p:custDataLst>
              <p:tags r:id="rId124"/>
            </p:custDataLst>
          </p:nvPr>
        </p:nvSpPr>
        <p:spPr>
          <a:xfrm>
            <a:off x="9624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latin typeface="Apis For Office" panose="020B0504010101010104" pitchFamily="34" charset="0"/>
            </a:endParaRPr>
          </a:p>
        </p:txBody>
      </p:sp>
      <p:sp>
        <p:nvSpPr>
          <p:cNvPr id="115" name="Tagline" descr="{&quot;templafy&quot;:{&quot;id&quot;:&quot;1abbc6e5-7f90-4ec7-bd50-37662db4c5b8&quot;}}" title="Form.PLogoChoice.PLogoInsertion">
            <a:extLst>
              <a:ext uri="{FF2B5EF4-FFF2-40B4-BE49-F238E27FC236}">
                <a16:creationId xmlns:a16="http://schemas.microsoft.com/office/drawing/2014/main" id="{1090779A-FA30-4EF9-809F-763A92C81AB1}"/>
              </a:ext>
            </a:extLst>
          </p:cNvPr>
          <p:cNvSpPr/>
          <p:nvPr userDrawn="1"/>
        </p:nvSpPr>
        <p:spPr>
          <a:xfrm>
            <a:off x="9240654" y="5336923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err="1">
              <a:latin typeface="Apis For Office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2328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  <p:sldLayoutId id="2147483739" r:id="rId17"/>
    <p:sldLayoutId id="2147483740" r:id="rId18"/>
    <p:sldLayoutId id="2147483741" r:id="rId19"/>
    <p:sldLayoutId id="2147483742" r:id="rId20"/>
    <p:sldLayoutId id="2147483743" r:id="rId21"/>
    <p:sldLayoutId id="2147483744" r:id="rId22"/>
    <p:sldLayoutId id="2147483745" r:id="rId23"/>
    <p:sldLayoutId id="2147483746" r:id="rId24"/>
    <p:sldLayoutId id="2147483747" r:id="rId25"/>
    <p:sldLayoutId id="2147483748" r:id="rId26"/>
    <p:sldLayoutId id="2147483749" r:id="rId27"/>
    <p:sldLayoutId id="2147483750" r:id="rId28"/>
    <p:sldLayoutId id="2147483751" r:id="rId29"/>
    <p:sldLayoutId id="2147483752" r:id="rId30"/>
    <p:sldLayoutId id="2147483753" r:id="rId31"/>
    <p:sldLayoutId id="2147483754" r:id="rId32"/>
    <p:sldLayoutId id="2147483755" r:id="rId33"/>
    <p:sldLayoutId id="2147483756" r:id="rId34"/>
    <p:sldLayoutId id="2147483757" r:id="rId35"/>
  </p:sldLayoutIdLst>
  <p:hf sldNum="0" hdr="0" ft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3733" kern="1200">
          <a:solidFill>
            <a:schemeClr val="tx2"/>
          </a:solidFill>
          <a:latin typeface="Apis For Office" panose="020B0504010101010104" pitchFamily="34" charset="0"/>
          <a:ea typeface="+mj-ea"/>
          <a:cs typeface="+mj-cs"/>
        </a:defRPr>
      </a:lvl1pPr>
    </p:titleStyle>
    <p:bodyStyle>
      <a:lvl1pPr marL="269993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133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1pPr>
      <a:lvl2pPr marL="539987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867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2pPr>
      <a:lvl3pPr marL="809980" indent="-26999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3pPr>
      <a:lvl4pPr marL="0" indent="0" algn="l" defTabSz="914377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000" b="1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4pPr>
      <a:lvl5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5pPr>
      <a:lvl6pPr marL="0" indent="0" algn="l" defTabSz="914377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1000" b="1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6pPr>
      <a:lvl7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7pPr>
      <a:lvl8pPr marL="179996" indent="-179996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4400" kern="1200" baseline="0">
          <a:solidFill>
            <a:schemeClr val="tx2"/>
          </a:solidFill>
          <a:latin typeface="Apis For Office" panose="020B05040101010101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944000"/>
            <a:ext cx="1089600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25.51181&lt;/Left&gt;&#10;      &lt;Top&gt;25.51181&lt;/Top&gt;&#10;      &lt;Width&gt;25.51181&lt;/Width&gt;&#10;      &lt;Height&gt;25.51181&lt;/Height&gt;&#10;    &lt;/SubGrid&gt;&#10;    &lt;SubGrid&gt;&#10;      &lt;Left&gt;51.02362&lt;/Left&gt;&#10;      &lt;Top&gt;25.51181&lt;/Top&gt;&#10;      &lt;Width&gt;151.1811&lt;/Width&gt;&#10;      &lt;Height&gt;25.51181&lt;/Height&gt;&#10;    &lt;/SubGrid&gt;&#10;    &lt;SubGrid&gt;&#10;      &lt;Left&gt;202.204727&lt;/Left&gt;&#10;      &lt;Top&gt;25.51181&lt;/Top&gt;&#10;      &lt;Width&gt;25.51181&lt;/Width&gt;&#10;      &lt;Height&gt;25.51181&lt;/Height&gt;&#10;    &lt;/SubGrid&gt;&#10;    &lt;SubGrid&gt;&#10;      &lt;Left&gt;227.716537&lt;/Left&gt;&#10;      &lt;Top&gt;25.51181&lt;/Top&gt;&#10;      &lt;Width&gt;151.1811&lt;/Width&gt;&#10;      &lt;Height&gt;25.51181&lt;/Height&gt;&#10;    &lt;/SubGrid&gt;&#10;    &lt;SubGrid&gt;&#10;      &lt;Left&gt;378.897644&lt;/Left&gt;&#10;      &lt;Top&gt;25.51181&lt;/Top&gt;&#10;      &lt;Width&gt;25.51181&lt;/Width&gt;&#10;      &lt;Height&gt;25.51181&lt;/Height&gt;&#10;    &lt;/SubGrid&gt;&#10;    &lt;SubGrid&gt;&#10;      &lt;Left&gt;404.409454&lt;/Left&gt;&#10;      &lt;Top&gt;25.51181&lt;/Top&gt;&#10;      &lt;Width&gt;151.1811&lt;/Width&gt;&#10;      &lt;Height&gt;25.51181&lt;/Height&gt;&#10;    &lt;/SubGrid&gt;&#10;    &lt;SubGrid&gt;&#10;      &lt;Left&gt;555.5906&lt;/Left&gt;&#10;      &lt;Top&gt;25.51181&lt;/Top&gt;&#10;      &lt;Width&gt;25.51181&lt;/Width&gt;&#10;      &lt;Height&gt;25.51181&lt;/Height&gt;&#10;    &lt;/SubGrid&gt;&#10;    &lt;SubGrid&gt;&#10;      &lt;Left&gt;581.102356&lt;/Left&gt;&#10;      &lt;Top&gt;25.51181&lt;/Top&gt;&#10;      &lt;Width&gt;151.1811&lt;/Width&gt;&#10;      &lt;Height&gt;25.51181&lt;/Height&gt;&#10;    &lt;/SubGrid&gt;&#10;    &lt;SubGrid&gt;&#10;      &lt;Left&gt;732.283447&lt;/Left&gt;&#10;      &lt;Top&gt;25.51181&lt;/Top&gt;&#10;      &lt;Width&gt;25.51181&lt;/Width&gt;&#10;      &lt;Height&gt;25.51181&lt;/Height&gt;&#10;    &lt;/SubGrid&gt;&#10;    &lt;SubGrid&gt;&#10;      &lt;Left&gt;757.7953&lt;/Left&gt;&#10;      &lt;Top&gt;25.51181&lt;/Top&gt;&#10;      &lt;Width&gt;151.1811&lt;/Width&gt;&#10;      &lt;Height&gt;25.51181&lt;/Height&gt;&#10;    &lt;/SubGrid&gt;&#10;    &lt;SubGrid&gt;&#10;      &lt;Left&gt;908.9764&lt;/Left&gt;&#10;      &lt;Top&gt;25.51181&lt;/Top&gt;&#10;      &lt;Width&gt;25.51181&lt;/Width&gt;&#10;      &lt;Height&gt;25.51181&lt;/Height&gt;&#10;    &lt;/SubGrid&gt;&#10;    &lt;SubGrid&gt;&#10;      &lt;Left&gt;25.51181&lt;/Left&gt;&#10;      &lt;Top&gt;218.976379&lt;/Top&gt;&#10;      &lt;Width&gt;25.51181&lt;/Width&gt;&#10;      &lt;Height&gt;25.51181&lt;/Height&gt;&#10;    &lt;/SubGrid&gt;&#10;    &lt;SubGrid&gt;&#10;      &lt;Left&gt;25.51181&lt;/Left&gt;&#10;      &lt;Top&gt;244.48819&lt;/Top&gt;&#10;      &lt;Width&gt;25.51181&lt;/Width&gt;&#10;      &lt;Height&gt;25.51181&lt;/Height&gt;&#10;    &lt;/SubGrid&gt;&#10;    &lt;SubGrid&gt;&#10;      &lt;Left&gt;25.51181&lt;/Left&gt;&#10;      &lt;Top&gt;270&lt;/Top&gt;&#10;      &lt;Width&gt;25.51181&lt;/Width&gt;&#10;      &lt;Height&gt;25.51181&lt;/Height&gt;&#10;    &lt;/SubGrid&gt;&#10;    &lt;SubGrid&gt;&#10;      &lt;Left&gt;25.51181&lt;/Left&gt;&#10;      &lt;Top&gt;295.5118&lt;/Top&gt;&#10;      &lt;Width&gt;25.51181&lt;/Width&gt;&#10;      &lt;Height&gt;25.51181&lt;/Height&gt;&#10;    &lt;/SubGrid&gt;&#10;    &lt;SubGrid&gt;&#10;      &lt;Left&gt;51.02362&lt;/Left&gt;&#10;      &lt;Top&gt;295.5118&lt;/Top&gt;&#10;      &lt;Width&gt;151.1811&lt;/Width&gt;&#10;      &lt;Height&gt;25.51181&lt;/Height&gt;&#10;    &lt;/SubGrid&gt;&#10;    &lt;SubGrid&gt;&#10;      &lt;Left&gt;202.204727&lt;/Left&gt;&#10;      &lt;Top&gt;295.5118&lt;/Top&gt;&#10;      &lt;Width&gt;25.51181&lt;/Width&gt;&#10;      &lt;Height&gt;25.51181&lt;/Height&gt;&#10;    &lt;/SubGrid&gt;&#10;    &lt;SubGrid&gt;&#10;      &lt;Left&gt;51.02362&lt;/Left&gt;&#10;      &lt;Top&gt;270&lt;/Top&gt;&#10;      &lt;Width&gt;151.1811&lt;/Width&gt;&#10;      &lt;Height&gt;25.51181&lt;/Height&gt;&#10;    &lt;/SubGrid&gt;&#10;    &lt;SubGrid&gt;&#10;      &lt;Left&gt;202.204727&lt;/Left&gt;&#10;      &lt;Top&gt;270&lt;/Top&gt;&#10;      &lt;Width&gt;25.51181&lt;/Width&gt;&#10;      &lt;Height&gt;25.51181&lt;/Height&gt;&#10;    &lt;/SubGrid&gt;&#10;    &lt;SubGrid&gt;&#10;      &lt;Left&gt;51.02362&lt;/Left&gt;&#10;      &lt;Top&gt;244.48819&lt;/Top&gt;&#10;      &lt;Width&gt;151.1811&lt;/Width&gt;&#10;      &lt;Height&gt;25.51181&lt;/Height&gt;&#10;    &lt;/SubGrid&gt;&#10;    &lt;SubGrid&gt;&#10;      &lt;Left&gt;202.204727&lt;/Left&gt;&#10;      &lt;Top&gt;244.48819&lt;/Top&gt;&#10;      &lt;Width&gt;25.51181&lt;/Width&gt;&#10;      &lt;Height&gt;25.51181&lt;/Height&gt;&#10;    &lt;/SubGrid&gt;&#10;    &lt;SubGrid&gt;&#10;      &lt;Left&gt;51.02362&lt;/Left&gt;&#10;      &lt;Top&gt;218.976379&lt;/Top&gt;&#10;      &lt;Width&gt;151.1811&lt;/Width&gt;&#10;      &lt;Height&gt;25.51181&lt;/Height&gt;&#10;    &lt;/SubGrid&gt;&#10;    &lt;SubGrid&gt;&#10;      &lt;Left&gt;202.204727&lt;/Left&gt;&#10;      &lt;Top&gt;218.976379&lt;/Top&gt;&#10;      &lt;Width&gt;25.51181&lt;/Width&gt;&#10;      &lt;Height&gt;25.51181&lt;/Height&gt;&#10;    &lt;/SubGrid&gt;&#10;    &lt;SubGrid&gt;&#10;      &lt;Left&gt;25.51181&lt;/Left&gt;&#10;      &lt;Top&gt;488.976379&lt;/Top&gt;&#10;      &lt;Width&gt;25.51181&lt;/Width&gt;&#10;      &lt;Height&gt;25.51181&lt;/Height&gt;&#10;    &lt;/SubGrid&gt;&#10;    &lt;SubGrid&gt;&#10;      &lt;Left&gt;51.02362&lt;/Left&gt;&#10;      &lt;Top&gt;488.976379&lt;/Top&gt;&#10;      &lt;Width&gt;151.1811&lt;/Width&gt;&#10;      &lt;Height&gt;25.51181&lt;/Height&gt;&#10;    &lt;/SubGrid&gt;&#10;    &lt;SubGrid&gt;&#10;      &lt;Left&gt;202.204727&lt;/Left&gt;&#10;      &lt;Top&gt;488.976379&lt;/Top&gt;&#10;      &lt;Width&gt;25.51181&lt;/Width&gt;&#10;      &lt;Height&gt;25.51181&lt;/Height&gt;&#10;    &lt;/SubGrid&gt;&#10;    &lt;SubGrid&gt;&#10;      &lt;Left&gt;227.716537&lt;/Left&gt;&#10;      &lt;Top&gt;488.976379&lt;/Top&gt;&#10;      &lt;Width&gt;151.1811&lt;/Width&gt;&#10;      &lt;Height&gt;25.51181&lt;/Height&gt;&#10;    &lt;/SubGrid&gt;&#10;    &lt;SubGrid&gt;&#10;      &lt;Left&gt;378.897644&lt;/Left&gt;&#10;      &lt;Top&gt;488.976379&lt;/Top&gt;&#10;      &lt;Width&gt;25.51181&lt;/Width&gt;&#10;      &lt;Height&gt;25.51181&lt;/Height&gt;&#10;    &lt;/SubGrid&gt;&#10;    &lt;SubGrid&gt;&#10;      &lt;Left&gt;404.409454&lt;/Left&gt;&#10;      &lt;Top&gt;488.976379&lt;/Top&gt;&#10;      &lt;Width&gt;151.1811&lt;/Width&gt;&#10;      &lt;Height&gt;25.51181&lt;/Height&gt;&#10;    &lt;/SubGrid&gt;&#10;    &lt;SubGrid&gt;&#10;      &lt;Left&gt;555.5906&lt;/Left&gt;&#10;      &lt;Top&gt;488.976379&lt;/Top&gt;&#10;      &lt;Width&gt;25.51181&lt;/Width&gt;&#10;      &lt;Height&gt;25.51181&lt;/Height&gt;&#10;    &lt;/SubGrid&gt;&#10;    &lt;SubGrid&gt;&#10;      &lt;Left&gt;581.102356&lt;/Left&gt;&#10;      &lt;Top&gt;488.976379&lt;/Top&gt;&#10;      &lt;Width&gt;151.1811&lt;/Width&gt;&#10;      &lt;Height&gt;25.51181&lt;/Height&gt;&#10;    &lt;/SubGrid&gt;&#10;    &lt;SubGrid&gt;&#10;      &lt;Left&gt;732.283447&lt;/Left&gt;&#10;      &lt;Top&gt;488.976379&lt;/Top&gt;&#10;      &lt;Width&gt;25.51181&lt;/Width&gt;&#10;      &lt;Height&gt;25.51181&lt;/Height&gt;&#10;    &lt;/SubGrid&gt;&#10;    &lt;SubGrid&gt;&#10;      &lt;Left&gt;757.7953&lt;/Left&gt;&#10;      &lt;Top&gt;488.976379&lt;/Top&gt;&#10;      &lt;Width&gt;151.1811&lt;/Width&gt;&#10;      &lt;Height&gt;25.51181&lt;/Height&gt;&#10;    &lt;/SubGrid&gt;&#10;    &lt;SubGrid&gt;&#10;      &lt;Left&gt;908.9764&lt;/Left&gt;&#10;      &lt;Top&gt;488.976379&lt;/Top&gt;&#10;      &lt;Width&gt;25.51181&lt;/Width&gt;&#10;      &lt;Height&gt;25.51181&lt;/Height&gt;&#10;    &lt;/SubGrid&gt;&#10;    &lt;SubGrid&gt;&#10;      &lt;Left&gt;227.716537&lt;/Left&gt;&#10;      &lt;Top&gt;295.5118&lt;/Top&gt;&#10;      &lt;Width&gt;151.1811&lt;/Width&gt;&#10;      &lt;Height&gt;25.51181&lt;/Height&gt;&#10;    &lt;/SubGrid&gt;&#10;    &lt;SubGrid&gt;&#10;      &lt;Left&gt;378.897644&lt;/Left&gt;&#10;      &lt;Top&gt;295.5118&lt;/Top&gt;&#10;      &lt;Width&gt;25.51181&lt;/Width&gt;&#10;      &lt;Height&gt;25.51181&lt;/Height&gt;&#10;    &lt;/SubGrid&gt;&#10;    &lt;SubGrid&gt;&#10;      &lt;Left&gt;227.716537&lt;/Left&gt;&#10;      &lt;Top&gt;270&lt;/Top&gt;&#10;      &lt;Width&gt;151.1811&lt;/Width&gt;&#10;      &lt;Height&gt;25.51181&lt;/Height&gt;&#10;    &lt;/SubGrid&gt;&#10;    &lt;SubGrid&gt;&#10;      &lt;Left&gt;378.897644&lt;/Left&gt;&#10;      &lt;Top&gt;270&lt;/Top&gt;&#10;      &lt;Width&gt;25.51181&lt;/Width&gt;&#10;      &lt;Height&gt;25.51181&lt;/Height&gt;&#10;    &lt;/SubGrid&gt;&#10;    &lt;SubGrid&gt;&#10;      &lt;Left&gt;227.716537&lt;/Left&gt;&#10;      &lt;Top&gt;244.48819&lt;/Top&gt;&#10;      &lt;Width&gt;151.1811&lt;/Width&gt;&#10;      &lt;Height&gt;25.51181&lt;/Height&gt;&#10;    &lt;/SubGrid&gt;&#10;    &lt;SubGrid&gt;&#10;      &lt;Left&gt;378.897644&lt;/Left&gt;&#10;      &lt;Top&gt;244.48819&lt;/Top&gt;&#10;      &lt;Width&gt;25.51181&lt;/Width&gt;&#10;      &lt;Height&gt;25.51181&lt;/Height&gt;&#10;    &lt;/SubGrid&gt;&#10;    &lt;SubGrid&gt;&#10;      &lt;Left&gt;227.716537&lt;/Left&gt;&#10;      &lt;Top&gt;218.976379&lt;/Top&gt;&#10;      &lt;Width&gt;151.1811&lt;/Width&gt;&#10;      &lt;Height&gt;25.51181&lt;/Height&gt;&#10;    &lt;/SubGrid&gt;&#10;    &lt;SubGrid&gt;&#10;      &lt;Left&gt;378.897644&lt;/Left&gt;&#10;      &lt;Top&gt;218.976379&lt;/Top&gt;&#10;      &lt;Width&gt;25.51181&lt;/Width&gt;&#10;      &lt;Height&gt;25.51181&lt;/Height&gt;&#10;    &lt;/SubGrid&gt;&#10;    &lt;SubGrid&gt;&#10;      &lt;Left&gt;404.409454&lt;/Left&gt;&#10;      &lt;Top&gt;295.5118&lt;/Top&gt;&#10;      &lt;Width&gt;151.1811&lt;/Width&gt;&#10;      &lt;Height&gt;25.51181&lt;/Height&gt;&#10;    &lt;/SubGrid&gt;&#10;    &lt;SubGrid&gt;&#10;      &lt;Left&gt;555.5906&lt;/Left&gt;&#10;      &lt;Top&gt;295.5118&lt;/Top&gt;&#10;      &lt;Width&gt;25.51181&lt;/Width&gt;&#10;      &lt;Height&gt;25.51181&lt;/Height&gt;&#10;    &lt;/SubGrid&gt;&#10;    &lt;SubGrid&gt;&#10;      &lt;Left&gt;404.409454&lt;/Left&gt;&#10;      &lt;Top&gt;270&lt;/Top&gt;&#10;      &lt;Width&gt;151.1811&lt;/Width&gt;&#10;      &lt;Height&gt;25.51181&lt;/Height&gt;&#10;    &lt;/SubGrid&gt;&#10;    &lt;SubGrid&gt;&#10;      &lt;Left&gt;555.5906&lt;/Left&gt;&#10;      &lt;Top&gt;270&lt;/Top&gt;&#10;      &lt;Width&gt;25.51181&lt;/Width&gt;&#10;      &lt;Height&gt;25.51181&lt;/Height&gt;&#10;    &lt;/SubGrid&gt;&#10;    &lt;SubGrid&gt;&#10;      &lt;Left&gt;404.409454&lt;/Left&gt;&#10;      &lt;Top&gt;244.48819&lt;/Top&gt;&#10;      &lt;Width&gt;151.1811&lt;/Width&gt;&#10;      &lt;Height&gt;25.51181&lt;/Height&gt;&#10;    &lt;/SubGrid&gt;&#10;    &lt;SubGrid&gt;&#10;      &lt;Left&gt;555.5906&lt;/Left&gt;&#10;      &lt;Top&gt;244.48819&lt;/Top&gt;&#10;      &lt;Width&gt;25.51181&lt;/Width&gt;&#10;      &lt;Height&gt;25.51181&lt;/Height&gt;&#10;    &lt;/SubGrid&gt;&#10;    &lt;SubGrid&gt;&#10;      &lt;Left&gt;404.409454&lt;/Left&gt;&#10;      &lt;Top&gt;218.976379&lt;/Top&gt;&#10;      &lt;Width&gt;151.1811&lt;/Width&gt;&#10;      &lt;Height&gt;25.51181&lt;/Height&gt;&#10;    &lt;/SubGrid&gt;&#10;    &lt;SubGrid&gt;&#10;      &lt;Left&gt;555.5906&lt;/Left&gt;&#10;      &lt;Top&gt;218.976379&lt;/Top&gt;&#10;      &lt;Width&gt;25.51181&lt;/Width&gt;&#10;      &lt;Height&gt;25.51181&lt;/Height&gt;&#10;    &lt;/SubGrid&gt;&#10;    &lt;SubGrid&gt;&#10;      &lt;Left&gt;581.102356&lt;/Left&gt;&#10;      &lt;Top&gt;295.5118&lt;/Top&gt;&#10;      &lt;Width&gt;151.1811&lt;/Width&gt;&#10;      &lt;Height&gt;25.51181&lt;/Height&gt;&#10;    &lt;/SubGrid&gt;&#10;    &lt;SubGrid&gt;&#10;      &lt;Left&gt;732.283447&lt;/Left&gt;&#10;      &lt;Top&gt;295.5118&lt;/Top&gt;&#10;      &lt;Width&gt;25.51181&lt;/Width&gt;&#10;      &lt;Height&gt;25.51181&lt;/Height&gt;&#10;    &lt;/SubGrid&gt;&#10;    &lt;SubGrid&gt;&#10;      &lt;Left&gt;581.102356&lt;/Left&gt;&#10;      &lt;Top&gt;270&lt;/Top&gt;&#10;      &lt;Width&gt;151.1811&lt;/Width&gt;&#10;      &lt;Height&gt;25.51181&lt;/Height&gt;&#10;    &lt;/SubGrid&gt;&#10;    &lt;SubGrid&gt;&#10;      &lt;Left&gt;732.283447&lt;/Left&gt;&#10;      &lt;Top&gt;270&lt;/Top&gt;&#10;      &lt;Width&gt;25.51181&lt;/Width&gt;&#10;      &lt;Height&gt;25.51181&lt;/Height&gt;&#10;    &lt;/SubGrid&gt;&#10;    &lt;SubGrid&gt;&#10;      &lt;Left&gt;581.102356&lt;/Left&gt;&#10;      &lt;Top&gt;244.48819&lt;/Top&gt;&#10;      &lt;Width&gt;151.1811&lt;/Width&gt;&#10;      &lt;Height&gt;25.51181&lt;/Height&gt;&#10;    &lt;/SubGrid&gt;&#10;    &lt;SubGrid&gt;&#10;      &lt;Left&gt;732.283447&lt;/Left&gt;&#10;      &lt;Top&gt;244.48819&lt;/Top&gt;&#10;      &lt;Width&gt;25.51181&lt;/Width&gt;&#10;      &lt;Height&gt;25.51181&lt;/Height&gt;&#10;    &lt;/SubGrid&gt;&#10;    &lt;SubGrid&gt;&#10;      &lt;Left&gt;581.102356&lt;/Left&gt;&#10;      &lt;Top&gt;218.976379&lt;/Top&gt;&#10;      &lt;Width&gt;151.1811&lt;/Width&gt;&#10;      &lt;Height&gt;25.51181&lt;/Height&gt;&#10;    &lt;/SubGrid&gt;&#10;    &lt;SubGrid&gt;&#10;      &lt;Left&gt;732.283447&lt;/Left&gt;&#10;      &lt;Top&gt;218.976379&lt;/Top&gt;&#10;      &lt;Width&gt;25.51181&lt;/Width&gt;&#10;      &lt;Height&gt;25.51181&lt;/Height&gt;&#10;    &lt;/SubGrid&gt;&#10;    &lt;SubGrid&gt;&#10;      &lt;Left&gt;757.7953&lt;/Left&gt;&#10;      &lt;Top&gt;295.5118&lt;/Top&gt;&#10;      &lt;Width&gt;151.1811&lt;/Width&gt;&#10;      &lt;Height&gt;25.51181&lt;/Height&gt;&#10;    &lt;/SubGrid&gt;&#10;    &lt;SubGrid&gt;&#10;      &lt;Left&gt;908.9764&lt;/Left&gt;&#10;      &lt;Top&gt;295.5118&lt;/Top&gt;&#10;      &lt;Width&gt;25.51181&lt;/Width&gt;&#10;      &lt;Height&gt;25.51181&lt;/Height&gt;&#10;    &lt;/SubGrid&gt;&#10;    &lt;SubGrid&gt;&#10;      &lt;Left&gt;757.7953&lt;/Left&gt;&#10;      &lt;Top&gt;270&lt;/Top&gt;&#10;      &lt;Width&gt;151.1811&lt;/Width&gt;&#10;      &lt;Height&gt;25.51181&lt;/Height&gt;&#10;    &lt;/SubGrid&gt;&#10;    &lt;SubGrid&gt;&#10;      &lt;Left&gt;908.9764&lt;/Left&gt;&#10;      &lt;Top&gt;270&lt;/Top&gt;&#10;      &lt;Width&gt;25.51181&lt;/Width&gt;&#10;      &lt;Height&gt;25.51181&lt;/Height&gt;&#10;    &lt;/SubGrid&gt;&#10;    &lt;SubGrid&gt;&#10;      &lt;Left&gt;757.7953&lt;/Left&gt;&#10;      &lt;Top&gt;244.48819&lt;/Top&gt;&#10;      &lt;Width&gt;151.1811&lt;/Width&gt;&#10;      &lt;Height&gt;25.51181&lt;/Height&gt;&#10;    &lt;/SubGrid&gt;&#10;    &lt;SubGrid&gt;&#10;      &lt;Left&gt;908.9764&lt;/Left&gt;&#10;      &lt;Top&gt;244.48819&lt;/Top&gt;&#10;      &lt;Width&gt;25.51181&lt;/Width&gt;&#10;      &lt;Height&gt;25.51181&lt;/Height&gt;&#10;    &lt;/SubGrid&gt;&#10;    &lt;SubGrid&gt;&#10;      &lt;Left&gt;757.7953&lt;/Left&gt;&#10;      &lt;Top&gt;218.976379&lt;/Top&gt;&#10;      &lt;Width&gt;151.1811&lt;/Width&gt;&#10;      &lt;Height&gt;25.51181&lt;/Height&gt;&#10;    &lt;/SubGrid&gt;&#10;    &lt;SubGrid&gt;&#10;      &lt;Left&gt;908.9764&lt;/Left&gt;&#10;      &lt;Top&gt;218.976379&lt;/Top&gt;&#10;      &lt;Width&gt;25.51181&lt;/Width&gt;&#10;      &lt;Height&gt;25.51181&lt;/Height&gt;&#10;    &lt;/SubGrid&gt;&#10;    &lt;SubGrid&gt;&#10;      &lt;Left&gt;25.51181&lt;/Left&gt;&#10;      &lt;Top&gt;51.02362&lt;/Top&gt;&#10;      &lt;Width&gt;25.51181&lt;/Width&gt;&#10;      &lt;Height&gt;167.952759&lt;/Height&gt;&#10;    &lt;/SubGrid&gt;&#10;    &lt;SubGrid&gt;&#10;      &lt;Left&gt;202.204727&lt;/Left&gt;&#10;      &lt;Top&gt;51.02362&lt;/Top&gt;&#10;      &lt;Width&gt;25.51181&lt;/Width&gt;&#10;      &lt;Height&gt;167.952759&lt;/Height&gt;&#10;    &lt;/SubGrid&gt;&#10;    &lt;SubGrid&gt;&#10;      &lt;Left&gt;378.897644&lt;/Left&gt;&#10;      &lt;Top&gt;51.02362&lt;/Top&gt;&#10;      &lt;Width&gt;25.51181&lt;/Width&gt;&#10;      &lt;Height&gt;167.952759&lt;/Height&gt;&#10;    &lt;/SubGrid&gt;&#10;    &lt;SubGrid&gt;&#10;      &lt;Left&gt;555.5906&lt;/Left&gt;&#10;      &lt;Top&gt;51.02362&lt;/Top&gt;&#10;      &lt;Width&gt;25.51181&lt;/Width&gt;&#10;      &lt;Height&gt;167.952759&lt;/Height&gt;&#10;    &lt;/SubGrid&gt;&#10;    &lt;SubGrid&gt;&#10;      &lt;Left&gt;732.283447&lt;/Left&gt;&#10;      &lt;Top&gt;51.02362&lt;/Top&gt;&#10;      &lt;Width&gt;25.51181&lt;/Width&gt;&#10;      &lt;Height&gt;167.952759&lt;/Height&gt;&#10;    &lt;/SubGrid&gt;&#10;    &lt;SubGrid&gt;&#10;      &lt;Left&gt;908.9764&lt;/Left&gt;&#10;      &lt;Top&gt;51.02362&lt;/Top&gt;&#10;      &lt;Width&gt;25.51181&lt;/Width&gt;&#10;      &lt;Height&gt;167.952759&lt;/Height&gt;&#10;    &lt;/SubGrid&gt;&#10;    &lt;SubGrid&gt;&#10;      &lt;Left&gt;25.51181&lt;/Left&gt;&#10;      &lt;Top&gt;321.023621&lt;/Top&gt;&#10;      &lt;Width&gt;25.51181&lt;/Width&gt;&#10;      &lt;Height&gt;167.952759&lt;/Height&gt;&#10;    &lt;/SubGrid&gt;&#10;    &lt;SubGrid&gt;&#10;      &lt;Left&gt;202.204727&lt;/Left&gt;&#10;      &lt;Top&gt;321.023621&lt;/Top&gt;&#10;      &lt;Width&gt;25.51181&lt;/Width&gt;&#10;      &lt;Height&gt;167.952759&lt;/Height&gt;&#10;    &lt;/SubGrid&gt;&#10;    &lt;SubGrid&gt;&#10;      &lt;Left&gt;378.897644&lt;/Left&gt;&#10;      &lt;Top&gt;321.023621&lt;/Top&gt;&#10;      &lt;Width&gt;25.51181&lt;/Width&gt;&#10;      &lt;Height&gt;167.952759&lt;/Height&gt;&#10;    &lt;/SubGrid&gt;&#10;    &lt;SubGrid&gt;&#10;      &lt;Left&gt;555.5906&lt;/Left&gt;&#10;      &lt;Top&gt;321.023621&lt;/Top&gt;&#10;      &lt;Width&gt;25.51181&lt;/Width&gt;&#10;      &lt;Height&gt;167.952759&lt;/Height&gt;&#10;    &lt;/SubGrid&gt;&#10;    &lt;SubGrid&gt;&#10;      &lt;Left&gt;732.283447&lt;/Left&gt;&#10;      &lt;Top&gt;321.023621&lt;/Top&gt;&#10;      &lt;Width&gt;25.51181&lt;/Width&gt;&#10;      &lt;Height&gt;167.952759&lt;/Height&gt;&#10;    &lt;/SubGrid&gt;&#10;    &lt;SubGrid&gt;&#10;      &lt;Left&gt;908.9764&lt;/Left&gt;&#10;      &lt;Top&gt;321.023621&lt;/Top&gt;&#10;      &lt;Width&gt;25.51181&lt;/Width&gt;&#10;      &lt;Height&gt;167.952759&lt;/Height&gt;&#10;    &lt;/SubGrid&gt;&#10;    &lt;SubGrid&gt;&#10;      &lt;Left&gt;51.02362&lt;/Left&gt;&#10;      &lt;Top&gt;51.02362&lt;/Top&gt;&#10;      &lt;Width&gt;151.1811&lt;/Width&gt;&#10;      &lt;Height&gt;167.952759&lt;/Height&gt;&#10;    &lt;/SubGrid&gt;&#10;    &lt;SubGrid&gt;&#10;      &lt;Left&gt;227.716537&lt;/Left&gt;&#10;      &lt;Top&gt;51.02362&lt;/Top&gt;&#10;      &lt;Width&gt;151.1811&lt;/Width&gt;&#10;      &lt;Height&gt;167.952759&lt;/Height&gt;&#10;    &lt;/SubGrid&gt;&#10;    &lt;SubGrid&gt;&#10;      &lt;Left&gt;404.409454&lt;/Left&gt;&#10;      &lt;Top&gt;51.02362&lt;/Top&gt;&#10;      &lt;Width&gt;151.1811&lt;/Width&gt;&#10;      &lt;Height&gt;167.952759&lt;/Height&gt;&#10;    &lt;/SubGrid&gt;&#10;    &lt;SubGrid&gt;&#10;      &lt;Left&gt;581.102356&lt;/Left&gt;&#10;      &lt;Top&gt;51.02362&lt;/Top&gt;&#10;      &lt;Width&gt;151.1811&lt;/Width&gt;&#10;      &lt;Height&gt;167.952759&lt;/Height&gt;&#10;    &lt;/SubGrid&gt;&#10;    &lt;SubGrid&gt;&#10;      &lt;Left&gt;757.7953&lt;/Left&gt;&#10;      &lt;Top&gt;51.02362&lt;/Top&gt;&#10;      &lt;Width&gt;151.1811&lt;/Width&gt;&#10;      &lt;Height&gt;167.952759&lt;/Height&gt;&#10;    &lt;/SubGrid&gt;&#10;    &lt;SubGrid&gt;&#10;      &lt;Left&gt;51.02362&lt;/Left&gt;&#10;      &lt;Top&gt;321.023621&lt;/Top&gt;&#10;      &lt;Width&gt;151.1811&lt;/Width&gt;&#10;      &lt;Height&gt;167.952759&lt;/Height&gt;&#10;    &lt;/SubGrid&gt;&#10;    &lt;SubGrid&gt;&#10;      &lt;Left&gt;227.716537&lt;/Left&gt;&#10;      &lt;Top&gt;321.023621&lt;/Top&gt;&#10;      &lt;Width&gt;151.1811&lt;/Width&gt;&#10;      &lt;Height&gt;167.952759&lt;/Height&gt;&#10;    &lt;/SubGrid&gt;&#10;    &lt;SubGrid&gt;&#10;      &lt;Left&gt;404.409454&lt;/Left&gt;&#10;      &lt;Top&gt;321.023621&lt;/Top&gt;&#10;      &lt;Width&gt;151.1811&lt;/Width&gt;&#10;      &lt;Height&gt;167.952759&lt;/Height&gt;&#10;    &lt;/SubGrid&gt;&#10;    &lt;SubGrid&gt;&#10;      &lt;Left&gt;581.102356&lt;/Left&gt;&#10;      &lt;Top&gt;321.023621&lt;/Top&gt;&#10;      &lt;Width&gt;151.1811&lt;/Width&gt;&#10;      &lt;Height&gt;167.952759&lt;/Height&gt;&#10;    &lt;/SubGrid&gt;&#10;    &lt;SubGrid&gt;&#10;      &lt;Left&gt;757.7953&lt;/Left&gt;&#10;      &lt;Top&gt;321.023621&lt;/Top&gt;&#10;      &lt;Width&gt;151.1811&lt;/Width&gt;&#10;      &lt;Height&gt;167.952759&lt;/Height&gt;&#10;    &lt;/SubGrid&gt;&#10;  &lt;/SubGrids&gt;&#10;  &lt;WorkArea&gt;&#10;    &lt;Top&gt;25.51181&lt;/Top&gt;&#10;    &lt;Left&gt;25.51181&lt;/Left&gt;&#10;    &lt;Width&gt;908.9764&lt;/Width&gt;&#10;    &lt;Height&gt;488.976379&lt;/Height&gt;&#10;  &lt;/WorkArea&gt;&#10;  &lt;AspectW&gt;-1&lt;/AspectW&gt;&#10;  &lt;AspectH&gt;-1&lt;/AspectH&gt;&#10;  &lt;Width&gt;960&lt;/Width&gt;&#10;  &lt;Height&gt;540&lt;/Height&gt;&#10;  &lt;HGap&gt;5&lt;/HGap&gt;&#10;  &lt;VGap&gt;5&lt;/VGap&gt;&#10;  &lt;OfficeVersion&gt;-1&lt;/OfficeVersion&gt;&#10;&lt;/GridTheme&gt;" hidden="1">
            <a:extLst>
              <a:ext uri="{FF2B5EF4-FFF2-40B4-BE49-F238E27FC236}">
                <a16:creationId xmlns:a16="http://schemas.microsoft.com/office/drawing/2014/main" id="{F5F0A4E1-4330-49F4-88F5-A83195F8511C}"/>
              </a:ext>
            </a:extLst>
          </p:cNvPr>
          <p:cNvSpPr/>
          <p:nvPr userDrawn="1"/>
        </p:nvSpPr>
        <p:spPr>
          <a:xfrm>
            <a:off x="324000" y="324000"/>
            <a:ext cx="11544000" cy="6210000"/>
          </a:xfrm>
          <a:prstGeom prst="rect">
            <a:avLst/>
          </a:prstGeom>
          <a:solidFill>
            <a:srgbClr val="E6E6E6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30BD45F-E3FD-4877-8E01-D258D6C49ED2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32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1F8F4EB-98F9-49C6-AD23-0434FEEA7DAD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648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461F43A-D29F-4117-83B4-78ECC6A90694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2568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3885B838-2022-4A1F-A84B-BB1127E2EE43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2892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AC6417FB-6B96-4CAA-9A61-CE3C85379335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4812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88F2338E-050E-4997-B5FD-16609E6B05AC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5136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65330914-84C1-4EFF-8088-9FF9153B21A3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7056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0D9F1F0C-68CC-4F13-A58D-7D5850D6BAB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7380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CD1A103-17AC-4A34-8A1D-92E20B67C019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9300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6D17E478-3C99-48E5-91A4-253FD970A082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9624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ACBDE3FC-87C8-4EA6-8040-812BA3745D76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1154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994EE5B0-B3FC-43D9-8B31-B03CA4819265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32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71B943CE-F983-40CB-852B-B348DA0EECF9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32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195AE9FF-57B5-4B28-95BD-65EB616F8339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32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09C4273C-D9B3-4E1C-BECF-E403BC0FED81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32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D61A9C98-DFAC-4C93-9FC3-FA4B7268AFD4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648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2738953D-847C-44BC-BB1D-3E35D57608D4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2568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A85DD5C0-07B7-493F-ACD2-090488BDD5B6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648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2D03EC4E-106A-492D-9392-E8DAE462F1BE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2568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id="{20022031-21E7-4D6F-92EB-D2DDACC3013D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648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0D8C0033-6DD1-44FA-8D1E-C266A6CB5E58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2568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5405C511-8E76-4F70-B418-D42EFC88B59C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648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id="{3A318B50-011A-4077-B856-5AA6365091AC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2568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id="{6A2BCA5B-FE07-43B1-A4B7-31BD6164A6E4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32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5C40FFBD-7783-45AC-8A2B-097F0420F8BE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648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4CEBE773-5EE2-48C7-957B-8390AB5ACC07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2568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id="{A88B1085-4452-48B2-ABE2-B39A1F2C8B5C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2892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id="{35677462-D07F-483C-9C29-E04937D96970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4812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719982BD-DEFC-4091-A576-C424DBA3C4DD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5136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id="{09DABF0B-9E1E-4C4B-B44A-B858D0F51253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7056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id="{4C2D3A6A-66FD-4AEE-8C1E-B6E5EECF6AC4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7380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id="{2D1F338B-CF9E-4B33-946A-4DB709760AF6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9300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id="{C62DDC7A-A75D-47D1-8199-CF07F2BDFB07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9624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id="{58B5BE77-B2A7-4D7F-8E0B-C3E954ED65B5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1154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id="{FCFBBBC3-8FB6-4FAC-ADAD-D2D96E64A22C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2892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id="{2C5A7DD2-B5CE-413A-9B54-583BA9EBCDFF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4812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id="{D9461BA4-4B7F-4140-AC43-136B90730752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2892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3" name="Rectangle 62" hidden="1">
            <a:extLst>
              <a:ext uri="{FF2B5EF4-FFF2-40B4-BE49-F238E27FC236}">
                <a16:creationId xmlns:a16="http://schemas.microsoft.com/office/drawing/2014/main" id="{DEB946CF-96A1-4659-9385-72D850C9C025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4812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4" name="Rectangle 63" hidden="1">
            <a:extLst>
              <a:ext uri="{FF2B5EF4-FFF2-40B4-BE49-F238E27FC236}">
                <a16:creationId xmlns:a16="http://schemas.microsoft.com/office/drawing/2014/main" id="{742C5205-4F49-47AB-B503-BC7F63858642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2892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5" name="Rectangle 64" hidden="1">
            <a:extLst>
              <a:ext uri="{FF2B5EF4-FFF2-40B4-BE49-F238E27FC236}">
                <a16:creationId xmlns:a16="http://schemas.microsoft.com/office/drawing/2014/main" id="{5B2DC920-B604-43E9-ADC1-B26167353D44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4812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id="{419CE6B2-B4FC-4BBD-937B-2FAF2EC436EB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2892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7" name="Rectangle 66" hidden="1">
            <a:extLst>
              <a:ext uri="{FF2B5EF4-FFF2-40B4-BE49-F238E27FC236}">
                <a16:creationId xmlns:a16="http://schemas.microsoft.com/office/drawing/2014/main" id="{24F744BF-7A2A-44A1-99AF-BF4D80F50B40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4812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8" name="Rectangle 67" hidden="1">
            <a:extLst>
              <a:ext uri="{FF2B5EF4-FFF2-40B4-BE49-F238E27FC236}">
                <a16:creationId xmlns:a16="http://schemas.microsoft.com/office/drawing/2014/main" id="{4A561C12-BD2C-4ABE-9ACE-047842A9B253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5136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id="{1F79B3EE-7015-44C0-B98B-D7976E3CC6C0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7056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0" name="Rectangle 69" hidden="1">
            <a:extLst>
              <a:ext uri="{FF2B5EF4-FFF2-40B4-BE49-F238E27FC236}">
                <a16:creationId xmlns:a16="http://schemas.microsoft.com/office/drawing/2014/main" id="{55195DF3-05B5-49EC-8E2A-6D131BFB07E4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5136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id="{6C7ACCBF-3785-451F-8D26-06EB8169ED29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7056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0DB1FB36-F0B8-4569-B24C-A7FE882E3A0D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5136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3" name="Rectangle 72" hidden="1">
            <a:extLst>
              <a:ext uri="{FF2B5EF4-FFF2-40B4-BE49-F238E27FC236}">
                <a16:creationId xmlns:a16="http://schemas.microsoft.com/office/drawing/2014/main" id="{A16BF7E9-5EB1-4763-B3B3-B9BDDFCE9368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7056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4" name="Rectangle 73" hidden="1">
            <a:extLst>
              <a:ext uri="{FF2B5EF4-FFF2-40B4-BE49-F238E27FC236}">
                <a16:creationId xmlns:a16="http://schemas.microsoft.com/office/drawing/2014/main" id="{B859330A-8EF0-4EC1-8579-E436CA633192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5136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5" name="Rectangle 74" hidden="1">
            <a:extLst>
              <a:ext uri="{FF2B5EF4-FFF2-40B4-BE49-F238E27FC236}">
                <a16:creationId xmlns:a16="http://schemas.microsoft.com/office/drawing/2014/main" id="{28ADAA1F-5B13-4CA7-92F6-B9BD284DD1E1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7056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id="{D063FCBC-0F82-4BF7-A4F3-63086372BCA1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7380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7" name="Rectangle 76" hidden="1">
            <a:extLst>
              <a:ext uri="{FF2B5EF4-FFF2-40B4-BE49-F238E27FC236}">
                <a16:creationId xmlns:a16="http://schemas.microsoft.com/office/drawing/2014/main" id="{CE645546-D2AC-47E6-9FEE-B872688AACBC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9300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8" name="Rectangle 77" hidden="1">
            <a:extLst>
              <a:ext uri="{FF2B5EF4-FFF2-40B4-BE49-F238E27FC236}">
                <a16:creationId xmlns:a16="http://schemas.microsoft.com/office/drawing/2014/main" id="{67D40869-4909-44AB-ADF7-F7E881C8F368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7380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9" name="Rectangle 78" hidden="1">
            <a:extLst>
              <a:ext uri="{FF2B5EF4-FFF2-40B4-BE49-F238E27FC236}">
                <a16:creationId xmlns:a16="http://schemas.microsoft.com/office/drawing/2014/main" id="{135A9F82-A30E-49D6-85D5-F27123AF0F10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9300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0" name="Rectangle 79" hidden="1">
            <a:extLst>
              <a:ext uri="{FF2B5EF4-FFF2-40B4-BE49-F238E27FC236}">
                <a16:creationId xmlns:a16="http://schemas.microsoft.com/office/drawing/2014/main" id="{95983F4E-3EE6-4BD7-AD35-C47ED01C5ED4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7380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1" name="Rectangle 80" hidden="1">
            <a:extLst>
              <a:ext uri="{FF2B5EF4-FFF2-40B4-BE49-F238E27FC236}">
                <a16:creationId xmlns:a16="http://schemas.microsoft.com/office/drawing/2014/main" id="{F717EFA4-0ED4-4A46-9AFD-0F0A6E65D253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9300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id="{6E85224F-39CC-4044-9201-BDF5309E2509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7380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C5FFBE79-1CFF-48A7-9FA3-6763881AA963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9300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4" name="Rectangle 83" hidden="1">
            <a:extLst>
              <a:ext uri="{FF2B5EF4-FFF2-40B4-BE49-F238E27FC236}">
                <a16:creationId xmlns:a16="http://schemas.microsoft.com/office/drawing/2014/main" id="{C7039B6D-AC56-40A5-858D-599754E1E0AD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9624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5" name="Rectangle 84" hidden="1">
            <a:extLst>
              <a:ext uri="{FF2B5EF4-FFF2-40B4-BE49-F238E27FC236}">
                <a16:creationId xmlns:a16="http://schemas.microsoft.com/office/drawing/2014/main" id="{71018EC8-1FEE-415C-B1E0-DAFC251C6F4F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1154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id="{33D0B803-F928-4AB8-9FA8-7A2550C65926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9624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id="{A74BCB38-7D1D-4BB9-94CE-ADBDC5DAB010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1154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8" name="Rectangle 87" hidden="1">
            <a:extLst>
              <a:ext uri="{FF2B5EF4-FFF2-40B4-BE49-F238E27FC236}">
                <a16:creationId xmlns:a16="http://schemas.microsoft.com/office/drawing/2014/main" id="{6E6BC775-1DC0-42CB-BA95-EB6F78CFD0FE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9624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9" name="Rectangle 88" hidden="1">
            <a:extLst>
              <a:ext uri="{FF2B5EF4-FFF2-40B4-BE49-F238E27FC236}">
                <a16:creationId xmlns:a16="http://schemas.microsoft.com/office/drawing/2014/main" id="{95792BBB-2B34-4739-8C69-B66E64F8A279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1154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0" name="Rectangle 89" hidden="1">
            <a:extLst>
              <a:ext uri="{FF2B5EF4-FFF2-40B4-BE49-F238E27FC236}">
                <a16:creationId xmlns:a16="http://schemas.microsoft.com/office/drawing/2014/main" id="{E8FDD868-6922-48B4-976C-6F9677663DAF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9624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id="{E3A8AF86-B9FD-4654-82BA-248AF9D72F7C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1154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2" name="Rectangle 91" hidden="1">
            <a:extLst>
              <a:ext uri="{FF2B5EF4-FFF2-40B4-BE49-F238E27FC236}">
                <a16:creationId xmlns:a16="http://schemas.microsoft.com/office/drawing/2014/main" id="{F1579785-2978-4428-A96D-6D6718940F9D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32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3" name="Rectangle 92" hidden="1">
            <a:extLst>
              <a:ext uri="{FF2B5EF4-FFF2-40B4-BE49-F238E27FC236}">
                <a16:creationId xmlns:a16="http://schemas.microsoft.com/office/drawing/2014/main" id="{0584FA97-4AB6-4A5E-91FB-95E9E602EA26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2568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4" name="Rectangle 93" hidden="1">
            <a:extLst>
              <a:ext uri="{FF2B5EF4-FFF2-40B4-BE49-F238E27FC236}">
                <a16:creationId xmlns:a16="http://schemas.microsoft.com/office/drawing/2014/main" id="{A48EE25C-475F-4316-B6A2-011BEE3BCD92}"/>
              </a:ext>
            </a:extLst>
          </p:cNvPr>
          <p:cNvSpPr/>
          <p:nvPr userDrawn="1">
            <p:custDataLst>
              <p:tags r:id="rId76"/>
            </p:custDataLst>
          </p:nvPr>
        </p:nvSpPr>
        <p:spPr>
          <a:xfrm>
            <a:off x="4812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id="{7E857FE4-C9A3-45B7-B041-66EE09495EEC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7056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6" name="Rectangle 95" hidden="1">
            <a:extLst>
              <a:ext uri="{FF2B5EF4-FFF2-40B4-BE49-F238E27FC236}">
                <a16:creationId xmlns:a16="http://schemas.microsoft.com/office/drawing/2014/main" id="{9B5A1CBD-EB02-4B45-AF38-AAD0F53B4AD5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9300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id="{B80B4760-EF40-4F2E-9A91-131FFC1E37B4}"/>
              </a:ext>
            </a:extLst>
          </p:cNvPr>
          <p:cNvSpPr/>
          <p:nvPr userDrawn="1">
            <p:custDataLst>
              <p:tags r:id="rId79"/>
            </p:custDataLst>
          </p:nvPr>
        </p:nvSpPr>
        <p:spPr>
          <a:xfrm>
            <a:off x="1154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8" name="Rectangle 97" hidden="1">
            <a:extLst>
              <a:ext uri="{FF2B5EF4-FFF2-40B4-BE49-F238E27FC236}">
                <a16:creationId xmlns:a16="http://schemas.microsoft.com/office/drawing/2014/main" id="{8E8A7F77-3721-4815-B970-1D077CD2DA75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32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9" name="Rectangle 98" hidden="1">
            <a:extLst>
              <a:ext uri="{FF2B5EF4-FFF2-40B4-BE49-F238E27FC236}">
                <a16:creationId xmlns:a16="http://schemas.microsoft.com/office/drawing/2014/main" id="{55C42CA1-292D-4FB8-8399-74D1AD374EBE}"/>
              </a:ext>
            </a:extLst>
          </p:cNvPr>
          <p:cNvSpPr/>
          <p:nvPr userDrawn="1">
            <p:custDataLst>
              <p:tags r:id="rId81"/>
            </p:custDataLst>
          </p:nvPr>
        </p:nvSpPr>
        <p:spPr>
          <a:xfrm>
            <a:off x="2568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0" name="Rectangle 99" hidden="1">
            <a:extLst>
              <a:ext uri="{FF2B5EF4-FFF2-40B4-BE49-F238E27FC236}">
                <a16:creationId xmlns:a16="http://schemas.microsoft.com/office/drawing/2014/main" id="{76F4910F-0223-4A58-B2B3-CC1032CA6A96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4812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1" name="Rectangle 100" hidden="1">
            <a:extLst>
              <a:ext uri="{FF2B5EF4-FFF2-40B4-BE49-F238E27FC236}">
                <a16:creationId xmlns:a16="http://schemas.microsoft.com/office/drawing/2014/main" id="{309CA6FE-3AA4-4E04-82CE-33A9467E0E6A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7056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2" name="Rectangle 101" hidden="1">
            <a:extLst>
              <a:ext uri="{FF2B5EF4-FFF2-40B4-BE49-F238E27FC236}">
                <a16:creationId xmlns:a16="http://schemas.microsoft.com/office/drawing/2014/main" id="{D3FAE458-E122-4E17-A2BB-860390DB639B}"/>
              </a:ext>
            </a:extLst>
          </p:cNvPr>
          <p:cNvSpPr/>
          <p:nvPr userDrawn="1">
            <p:custDataLst>
              <p:tags r:id="rId84"/>
            </p:custDataLst>
          </p:nvPr>
        </p:nvSpPr>
        <p:spPr>
          <a:xfrm>
            <a:off x="9300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09CCF6D6-3C14-49F1-9CCF-BB2BB02BA463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1154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4" name="Rectangle 103" hidden="1">
            <a:extLst>
              <a:ext uri="{FF2B5EF4-FFF2-40B4-BE49-F238E27FC236}">
                <a16:creationId xmlns:a16="http://schemas.microsoft.com/office/drawing/2014/main" id="{89199ED3-108C-4CB1-85A2-7274AF6D76B6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648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5" name="Rectangle 104" hidden="1">
            <a:extLst>
              <a:ext uri="{FF2B5EF4-FFF2-40B4-BE49-F238E27FC236}">
                <a16:creationId xmlns:a16="http://schemas.microsoft.com/office/drawing/2014/main" id="{F4889CBE-7887-46C6-99BA-4A154FF96016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2892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6" name="Rectangle 105" hidden="1">
            <a:extLst>
              <a:ext uri="{FF2B5EF4-FFF2-40B4-BE49-F238E27FC236}">
                <a16:creationId xmlns:a16="http://schemas.microsoft.com/office/drawing/2014/main" id="{2714EDDA-63CD-4C57-BF1D-55D84EF7DA1C}"/>
              </a:ext>
            </a:extLst>
          </p:cNvPr>
          <p:cNvSpPr/>
          <p:nvPr userDrawn="1">
            <p:custDataLst>
              <p:tags r:id="rId88"/>
            </p:custDataLst>
          </p:nvPr>
        </p:nvSpPr>
        <p:spPr>
          <a:xfrm>
            <a:off x="5136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7" name="Rectangle 106" hidden="1">
            <a:extLst>
              <a:ext uri="{FF2B5EF4-FFF2-40B4-BE49-F238E27FC236}">
                <a16:creationId xmlns:a16="http://schemas.microsoft.com/office/drawing/2014/main" id="{5A4A540B-AB24-4508-BDE2-193816CE6C2F}"/>
              </a:ext>
            </a:extLst>
          </p:cNvPr>
          <p:cNvSpPr/>
          <p:nvPr userDrawn="1">
            <p:custDataLst>
              <p:tags r:id="rId89"/>
            </p:custDataLst>
          </p:nvPr>
        </p:nvSpPr>
        <p:spPr>
          <a:xfrm>
            <a:off x="7380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8" name="Rectangle 107" hidden="1">
            <a:extLst>
              <a:ext uri="{FF2B5EF4-FFF2-40B4-BE49-F238E27FC236}">
                <a16:creationId xmlns:a16="http://schemas.microsoft.com/office/drawing/2014/main" id="{2E588317-42FC-4AFD-BF07-4EEAEA17B0FB}"/>
              </a:ext>
            </a:extLst>
          </p:cNvPr>
          <p:cNvSpPr/>
          <p:nvPr userDrawn="1">
            <p:custDataLst>
              <p:tags r:id="rId90"/>
            </p:custDataLst>
          </p:nvPr>
        </p:nvSpPr>
        <p:spPr>
          <a:xfrm>
            <a:off x="9624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9" name="Rectangle 108" hidden="1">
            <a:extLst>
              <a:ext uri="{FF2B5EF4-FFF2-40B4-BE49-F238E27FC236}">
                <a16:creationId xmlns:a16="http://schemas.microsoft.com/office/drawing/2014/main" id="{409B9FF3-D5DB-4C25-942C-75E24E0BD588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648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0" name="Rectangle 109" hidden="1">
            <a:extLst>
              <a:ext uri="{FF2B5EF4-FFF2-40B4-BE49-F238E27FC236}">
                <a16:creationId xmlns:a16="http://schemas.microsoft.com/office/drawing/2014/main" id="{B34EB183-B95A-4A10-93F6-B2E688291320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2892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1" name="Rectangle 110" hidden="1">
            <a:extLst>
              <a:ext uri="{FF2B5EF4-FFF2-40B4-BE49-F238E27FC236}">
                <a16:creationId xmlns:a16="http://schemas.microsoft.com/office/drawing/2014/main" id="{9445802B-D13B-4448-BCCA-EAC068866CD3}"/>
              </a:ext>
            </a:extLst>
          </p:cNvPr>
          <p:cNvSpPr/>
          <p:nvPr userDrawn="1">
            <p:custDataLst>
              <p:tags r:id="rId93"/>
            </p:custDataLst>
          </p:nvPr>
        </p:nvSpPr>
        <p:spPr>
          <a:xfrm>
            <a:off x="5136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2" name="Rectangle 111" hidden="1">
            <a:extLst>
              <a:ext uri="{FF2B5EF4-FFF2-40B4-BE49-F238E27FC236}">
                <a16:creationId xmlns:a16="http://schemas.microsoft.com/office/drawing/2014/main" id="{C10B3B33-18E6-4256-821F-887D5B33BF81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7380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3" name="Rectangle 112" hidden="1">
            <a:extLst>
              <a:ext uri="{FF2B5EF4-FFF2-40B4-BE49-F238E27FC236}">
                <a16:creationId xmlns:a16="http://schemas.microsoft.com/office/drawing/2014/main" id="{C76950B1-616E-4DAB-A1C9-C18FEC9C31D4}"/>
              </a:ext>
            </a:extLst>
          </p:cNvPr>
          <p:cNvSpPr/>
          <p:nvPr userDrawn="1">
            <p:custDataLst>
              <p:tags r:id="rId95"/>
            </p:custDataLst>
          </p:nvPr>
        </p:nvSpPr>
        <p:spPr>
          <a:xfrm>
            <a:off x="9624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5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1090779A-FA30-4EF9-809F-763A92C81AB1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4214158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4" r:id="rId5"/>
    <p:sldLayoutId id="2147483765" r:id="rId6"/>
  </p:sldLayoutIdLst>
  <p:hf sldNum="0"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1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4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8">
          <p15:clr>
            <a:srgbClr val="F26B43"/>
          </p15:clr>
        </p15:guide>
        <p15:guide id="2" pos="1617">
          <p15:clr>
            <a:srgbClr val="F26B43"/>
          </p15:clr>
        </p15:guide>
        <p15:guide id="3" orient="horz" pos="2364">
          <p15:clr>
            <a:srgbClr val="F26B43"/>
          </p15:clr>
        </p15:guide>
        <p15:guide id="4" orient="horz" pos="2568">
          <p15:clr>
            <a:srgbClr val="F26B43"/>
          </p15:clr>
        </p15:guide>
        <p15:guide id="5" pos="3031">
          <p15:clr>
            <a:srgbClr val="F26B43"/>
          </p15:clr>
        </p15:guide>
        <p15:guide id="6" pos="3235">
          <p15:clr>
            <a:srgbClr val="F26B43"/>
          </p15:clr>
        </p15:guide>
        <p15:guide id="7" orient="horz" pos="3911">
          <p15:clr>
            <a:srgbClr val="F26B43"/>
          </p15:clr>
        </p15:guide>
        <p15:guide id="8" orient="horz" pos="4115">
          <p15:clr>
            <a:srgbClr val="F26B43"/>
          </p15:clr>
        </p15:guide>
        <p15:guide id="9" pos="6063">
          <p15:clr>
            <a:srgbClr val="F26B43"/>
          </p15:clr>
        </p15:guide>
        <p15:guide id="10" pos="7272">
          <p15:clr>
            <a:srgbClr val="F26B43"/>
          </p15:clr>
        </p15:guide>
        <p15:guide id="11" orient="horz" pos="2160">
          <p15:clr>
            <a:srgbClr val="F26B43"/>
          </p15:clr>
        </p15:guide>
        <p15:guide id="12" pos="4444">
          <p15:clr>
            <a:srgbClr val="F26B43"/>
          </p15:clr>
        </p15:guide>
        <p15:guide id="13" pos="4648">
          <p15:clr>
            <a:srgbClr val="F26B43"/>
          </p15:clr>
        </p15:guide>
        <p15:guide id="14" orient="horz" pos="204">
          <p15:clr>
            <a:srgbClr val="F26B43"/>
          </p15:clr>
        </p15:guide>
        <p15:guide id="15" orient="horz" pos="408">
          <p15:clr>
            <a:srgbClr val="F26B43"/>
          </p15:clr>
        </p15:guide>
        <p15:guide id="16" pos="1821">
          <p15:clr>
            <a:srgbClr val="F26B43"/>
          </p15:clr>
        </p15:guide>
        <p15:guide id="17" orient="horz" pos="1956">
          <p15:clr>
            <a:srgbClr val="F26B43"/>
          </p15:clr>
        </p15:guide>
        <p15:guide id="18" pos="5859">
          <p15:clr>
            <a:srgbClr val="F26B43"/>
          </p15:clr>
        </p15:guide>
        <p15:guide id="19" orient="horz" pos="1752">
          <p15:clr>
            <a:srgbClr val="F26B43"/>
          </p15:clr>
        </p15:guide>
        <p15:guide id="20" pos="7476">
          <p15:clr>
            <a:srgbClr val="F26B43"/>
          </p15:clr>
        </p15:guide>
        <p15:guide id="21" pos="20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944000"/>
            <a:ext cx="10896000" cy="426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00" y="648000"/>
            <a:ext cx="10896000" cy="12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 dello schema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8000" y="324000"/>
            <a:ext cx="1920000" cy="1258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92712" y="323850"/>
            <a:ext cx="4162138" cy="126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324000"/>
            <a:ext cx="324000" cy="1258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78D69B5-2783-4637-A949-A867EE4EFE6B}"/>
              </a:ext>
            </a:extLst>
          </p:cNvPr>
          <p:cNvSpPr txBox="1"/>
          <p:nvPr userDrawn="1"/>
        </p:nvSpPr>
        <p:spPr>
          <a:xfrm>
            <a:off x="11218069" y="324000"/>
            <a:ext cx="648494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700" dirty="0">
                <a:solidFill>
                  <a:schemeClr val="tx2"/>
                </a:solidFill>
              </a:rPr>
              <a:t>Novo Nordisk</a:t>
            </a:r>
            <a:r>
              <a:rPr lang="en-GB" sz="700" baseline="30000" dirty="0">
                <a:solidFill>
                  <a:schemeClr val="tx2"/>
                </a:solidFill>
              </a:rPr>
              <a:t>®</a:t>
            </a:r>
          </a:p>
        </p:txBody>
      </p:sp>
      <p:sp>
        <p:nvSpPr>
          <p:cNvPr id="4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25.51181&lt;/Left&gt;&#10;      &lt;Top&gt;25.51181&lt;/Top&gt;&#10;      &lt;Width&gt;25.51181&lt;/Width&gt;&#10;      &lt;Height&gt;25.51181&lt;/Height&gt;&#10;    &lt;/SubGrid&gt;&#10;    &lt;SubGrid&gt;&#10;      &lt;Left&gt;51.02362&lt;/Left&gt;&#10;      &lt;Top&gt;25.51181&lt;/Top&gt;&#10;      &lt;Width&gt;151.1811&lt;/Width&gt;&#10;      &lt;Height&gt;25.51181&lt;/Height&gt;&#10;    &lt;/SubGrid&gt;&#10;    &lt;SubGrid&gt;&#10;      &lt;Left&gt;202.204727&lt;/Left&gt;&#10;      &lt;Top&gt;25.51181&lt;/Top&gt;&#10;      &lt;Width&gt;25.51181&lt;/Width&gt;&#10;      &lt;Height&gt;25.51181&lt;/Height&gt;&#10;    &lt;/SubGrid&gt;&#10;    &lt;SubGrid&gt;&#10;      &lt;Left&gt;227.716537&lt;/Left&gt;&#10;      &lt;Top&gt;25.51181&lt;/Top&gt;&#10;      &lt;Width&gt;151.1811&lt;/Width&gt;&#10;      &lt;Height&gt;25.51181&lt;/Height&gt;&#10;    &lt;/SubGrid&gt;&#10;    &lt;SubGrid&gt;&#10;      &lt;Left&gt;378.897644&lt;/Left&gt;&#10;      &lt;Top&gt;25.51181&lt;/Top&gt;&#10;      &lt;Width&gt;25.51181&lt;/Width&gt;&#10;      &lt;Height&gt;25.51181&lt;/Height&gt;&#10;    &lt;/SubGrid&gt;&#10;    &lt;SubGrid&gt;&#10;      &lt;Left&gt;404.409454&lt;/Left&gt;&#10;      &lt;Top&gt;25.51181&lt;/Top&gt;&#10;      &lt;Width&gt;151.1811&lt;/Width&gt;&#10;      &lt;Height&gt;25.51181&lt;/Height&gt;&#10;    &lt;/SubGrid&gt;&#10;    &lt;SubGrid&gt;&#10;      &lt;Left&gt;555.5906&lt;/Left&gt;&#10;      &lt;Top&gt;25.51181&lt;/Top&gt;&#10;      &lt;Width&gt;25.51181&lt;/Width&gt;&#10;      &lt;Height&gt;25.51181&lt;/Height&gt;&#10;    &lt;/SubGrid&gt;&#10;    &lt;SubGrid&gt;&#10;      &lt;Left&gt;581.102356&lt;/Left&gt;&#10;      &lt;Top&gt;25.51181&lt;/Top&gt;&#10;      &lt;Width&gt;151.1811&lt;/Width&gt;&#10;      &lt;Height&gt;25.51181&lt;/Height&gt;&#10;    &lt;/SubGrid&gt;&#10;    &lt;SubGrid&gt;&#10;      &lt;Left&gt;732.283447&lt;/Left&gt;&#10;      &lt;Top&gt;25.51181&lt;/Top&gt;&#10;      &lt;Width&gt;25.51181&lt;/Width&gt;&#10;      &lt;Height&gt;25.51181&lt;/Height&gt;&#10;    &lt;/SubGrid&gt;&#10;    &lt;SubGrid&gt;&#10;      &lt;Left&gt;757.7953&lt;/Left&gt;&#10;      &lt;Top&gt;25.51181&lt;/Top&gt;&#10;      &lt;Width&gt;151.1811&lt;/Width&gt;&#10;      &lt;Height&gt;25.51181&lt;/Height&gt;&#10;    &lt;/SubGrid&gt;&#10;    &lt;SubGrid&gt;&#10;      &lt;Left&gt;908.9764&lt;/Left&gt;&#10;      &lt;Top&gt;25.51181&lt;/Top&gt;&#10;      &lt;Width&gt;25.51181&lt;/Width&gt;&#10;      &lt;Height&gt;25.51181&lt;/Height&gt;&#10;    &lt;/SubGrid&gt;&#10;    &lt;SubGrid&gt;&#10;      &lt;Left&gt;25.51181&lt;/Left&gt;&#10;      &lt;Top&gt;218.976379&lt;/Top&gt;&#10;      &lt;Width&gt;25.51181&lt;/Width&gt;&#10;      &lt;Height&gt;25.51181&lt;/Height&gt;&#10;    &lt;/SubGrid&gt;&#10;    &lt;SubGrid&gt;&#10;      &lt;Left&gt;25.51181&lt;/Left&gt;&#10;      &lt;Top&gt;244.48819&lt;/Top&gt;&#10;      &lt;Width&gt;25.51181&lt;/Width&gt;&#10;      &lt;Height&gt;25.51181&lt;/Height&gt;&#10;    &lt;/SubGrid&gt;&#10;    &lt;SubGrid&gt;&#10;      &lt;Left&gt;25.51181&lt;/Left&gt;&#10;      &lt;Top&gt;270&lt;/Top&gt;&#10;      &lt;Width&gt;25.51181&lt;/Width&gt;&#10;      &lt;Height&gt;25.51181&lt;/Height&gt;&#10;    &lt;/SubGrid&gt;&#10;    &lt;SubGrid&gt;&#10;      &lt;Left&gt;25.51181&lt;/Left&gt;&#10;      &lt;Top&gt;295.5118&lt;/Top&gt;&#10;      &lt;Width&gt;25.51181&lt;/Width&gt;&#10;      &lt;Height&gt;25.51181&lt;/Height&gt;&#10;    &lt;/SubGrid&gt;&#10;    &lt;SubGrid&gt;&#10;      &lt;Left&gt;51.02362&lt;/Left&gt;&#10;      &lt;Top&gt;295.5118&lt;/Top&gt;&#10;      &lt;Width&gt;151.1811&lt;/Width&gt;&#10;      &lt;Height&gt;25.51181&lt;/Height&gt;&#10;    &lt;/SubGrid&gt;&#10;    &lt;SubGrid&gt;&#10;      &lt;Left&gt;202.204727&lt;/Left&gt;&#10;      &lt;Top&gt;295.5118&lt;/Top&gt;&#10;      &lt;Width&gt;25.51181&lt;/Width&gt;&#10;      &lt;Height&gt;25.51181&lt;/Height&gt;&#10;    &lt;/SubGrid&gt;&#10;    &lt;SubGrid&gt;&#10;      &lt;Left&gt;51.02362&lt;/Left&gt;&#10;      &lt;Top&gt;270&lt;/Top&gt;&#10;      &lt;Width&gt;151.1811&lt;/Width&gt;&#10;      &lt;Height&gt;25.51181&lt;/Height&gt;&#10;    &lt;/SubGrid&gt;&#10;    &lt;SubGrid&gt;&#10;      &lt;Left&gt;202.204727&lt;/Left&gt;&#10;      &lt;Top&gt;270&lt;/Top&gt;&#10;      &lt;Width&gt;25.51181&lt;/Width&gt;&#10;      &lt;Height&gt;25.51181&lt;/Height&gt;&#10;    &lt;/SubGrid&gt;&#10;    &lt;SubGrid&gt;&#10;      &lt;Left&gt;51.02362&lt;/Left&gt;&#10;      &lt;Top&gt;244.48819&lt;/Top&gt;&#10;      &lt;Width&gt;151.1811&lt;/Width&gt;&#10;      &lt;Height&gt;25.51181&lt;/Height&gt;&#10;    &lt;/SubGrid&gt;&#10;    &lt;SubGrid&gt;&#10;      &lt;Left&gt;202.204727&lt;/Left&gt;&#10;      &lt;Top&gt;244.48819&lt;/Top&gt;&#10;      &lt;Width&gt;25.51181&lt;/Width&gt;&#10;      &lt;Height&gt;25.51181&lt;/Height&gt;&#10;    &lt;/SubGrid&gt;&#10;    &lt;SubGrid&gt;&#10;      &lt;Left&gt;51.02362&lt;/Left&gt;&#10;      &lt;Top&gt;218.976379&lt;/Top&gt;&#10;      &lt;Width&gt;151.1811&lt;/Width&gt;&#10;      &lt;Height&gt;25.51181&lt;/Height&gt;&#10;    &lt;/SubGrid&gt;&#10;    &lt;SubGrid&gt;&#10;      &lt;Left&gt;202.204727&lt;/Left&gt;&#10;      &lt;Top&gt;218.976379&lt;/Top&gt;&#10;      &lt;Width&gt;25.51181&lt;/Width&gt;&#10;      &lt;Height&gt;25.51181&lt;/Height&gt;&#10;    &lt;/SubGrid&gt;&#10;    &lt;SubGrid&gt;&#10;      &lt;Left&gt;25.51181&lt;/Left&gt;&#10;      &lt;Top&gt;488.976379&lt;/Top&gt;&#10;      &lt;Width&gt;25.51181&lt;/Width&gt;&#10;      &lt;Height&gt;25.51181&lt;/Height&gt;&#10;    &lt;/SubGrid&gt;&#10;    &lt;SubGrid&gt;&#10;      &lt;Left&gt;51.02362&lt;/Left&gt;&#10;      &lt;Top&gt;488.976379&lt;/Top&gt;&#10;      &lt;Width&gt;151.1811&lt;/Width&gt;&#10;      &lt;Height&gt;25.51181&lt;/Height&gt;&#10;    &lt;/SubGrid&gt;&#10;    &lt;SubGrid&gt;&#10;      &lt;Left&gt;202.204727&lt;/Left&gt;&#10;      &lt;Top&gt;488.976379&lt;/Top&gt;&#10;      &lt;Width&gt;25.51181&lt;/Width&gt;&#10;      &lt;Height&gt;25.51181&lt;/Height&gt;&#10;    &lt;/SubGrid&gt;&#10;    &lt;SubGrid&gt;&#10;      &lt;Left&gt;227.716537&lt;/Left&gt;&#10;      &lt;Top&gt;488.976379&lt;/Top&gt;&#10;      &lt;Width&gt;151.1811&lt;/Width&gt;&#10;      &lt;Height&gt;25.51181&lt;/Height&gt;&#10;    &lt;/SubGrid&gt;&#10;    &lt;SubGrid&gt;&#10;      &lt;Left&gt;378.897644&lt;/Left&gt;&#10;      &lt;Top&gt;488.976379&lt;/Top&gt;&#10;      &lt;Width&gt;25.51181&lt;/Width&gt;&#10;      &lt;Height&gt;25.51181&lt;/Height&gt;&#10;    &lt;/SubGrid&gt;&#10;    &lt;SubGrid&gt;&#10;      &lt;Left&gt;404.409454&lt;/Left&gt;&#10;      &lt;Top&gt;488.976379&lt;/Top&gt;&#10;      &lt;Width&gt;151.1811&lt;/Width&gt;&#10;      &lt;Height&gt;25.51181&lt;/Height&gt;&#10;    &lt;/SubGrid&gt;&#10;    &lt;SubGrid&gt;&#10;      &lt;Left&gt;555.5906&lt;/Left&gt;&#10;      &lt;Top&gt;488.976379&lt;/Top&gt;&#10;      &lt;Width&gt;25.51181&lt;/Width&gt;&#10;      &lt;Height&gt;25.51181&lt;/Height&gt;&#10;    &lt;/SubGrid&gt;&#10;    &lt;SubGrid&gt;&#10;      &lt;Left&gt;581.102356&lt;/Left&gt;&#10;      &lt;Top&gt;488.976379&lt;/Top&gt;&#10;      &lt;Width&gt;151.1811&lt;/Width&gt;&#10;      &lt;Height&gt;25.51181&lt;/Height&gt;&#10;    &lt;/SubGrid&gt;&#10;    &lt;SubGrid&gt;&#10;      &lt;Left&gt;732.283447&lt;/Left&gt;&#10;      &lt;Top&gt;488.976379&lt;/Top&gt;&#10;      &lt;Width&gt;25.51181&lt;/Width&gt;&#10;      &lt;Height&gt;25.51181&lt;/Height&gt;&#10;    &lt;/SubGrid&gt;&#10;    &lt;SubGrid&gt;&#10;      &lt;Left&gt;757.7953&lt;/Left&gt;&#10;      &lt;Top&gt;488.976379&lt;/Top&gt;&#10;      &lt;Width&gt;151.1811&lt;/Width&gt;&#10;      &lt;Height&gt;25.51181&lt;/Height&gt;&#10;    &lt;/SubGrid&gt;&#10;    &lt;SubGrid&gt;&#10;      &lt;Left&gt;908.9764&lt;/Left&gt;&#10;      &lt;Top&gt;488.976379&lt;/Top&gt;&#10;      &lt;Width&gt;25.51181&lt;/Width&gt;&#10;      &lt;Height&gt;25.51181&lt;/Height&gt;&#10;    &lt;/SubGrid&gt;&#10;    &lt;SubGrid&gt;&#10;      &lt;Left&gt;227.716537&lt;/Left&gt;&#10;      &lt;Top&gt;295.5118&lt;/Top&gt;&#10;      &lt;Width&gt;151.1811&lt;/Width&gt;&#10;      &lt;Height&gt;25.51181&lt;/Height&gt;&#10;    &lt;/SubGrid&gt;&#10;    &lt;SubGrid&gt;&#10;      &lt;Left&gt;378.897644&lt;/Left&gt;&#10;      &lt;Top&gt;295.5118&lt;/Top&gt;&#10;      &lt;Width&gt;25.51181&lt;/Width&gt;&#10;      &lt;Height&gt;25.51181&lt;/Height&gt;&#10;    &lt;/SubGrid&gt;&#10;    &lt;SubGrid&gt;&#10;      &lt;Left&gt;227.716537&lt;/Left&gt;&#10;      &lt;Top&gt;270&lt;/Top&gt;&#10;      &lt;Width&gt;151.1811&lt;/Width&gt;&#10;      &lt;Height&gt;25.51181&lt;/Height&gt;&#10;    &lt;/SubGrid&gt;&#10;    &lt;SubGrid&gt;&#10;      &lt;Left&gt;378.897644&lt;/Left&gt;&#10;      &lt;Top&gt;270&lt;/Top&gt;&#10;      &lt;Width&gt;25.51181&lt;/Width&gt;&#10;      &lt;Height&gt;25.51181&lt;/Height&gt;&#10;    &lt;/SubGrid&gt;&#10;    &lt;SubGrid&gt;&#10;      &lt;Left&gt;227.716537&lt;/Left&gt;&#10;      &lt;Top&gt;244.48819&lt;/Top&gt;&#10;      &lt;Width&gt;151.1811&lt;/Width&gt;&#10;      &lt;Height&gt;25.51181&lt;/Height&gt;&#10;    &lt;/SubGrid&gt;&#10;    &lt;SubGrid&gt;&#10;      &lt;Left&gt;378.897644&lt;/Left&gt;&#10;      &lt;Top&gt;244.48819&lt;/Top&gt;&#10;      &lt;Width&gt;25.51181&lt;/Width&gt;&#10;      &lt;Height&gt;25.51181&lt;/Height&gt;&#10;    &lt;/SubGrid&gt;&#10;    &lt;SubGrid&gt;&#10;      &lt;Left&gt;227.716537&lt;/Left&gt;&#10;      &lt;Top&gt;218.976379&lt;/Top&gt;&#10;      &lt;Width&gt;151.1811&lt;/Width&gt;&#10;      &lt;Height&gt;25.51181&lt;/Height&gt;&#10;    &lt;/SubGrid&gt;&#10;    &lt;SubGrid&gt;&#10;      &lt;Left&gt;378.897644&lt;/Left&gt;&#10;      &lt;Top&gt;218.976379&lt;/Top&gt;&#10;      &lt;Width&gt;25.51181&lt;/Width&gt;&#10;      &lt;Height&gt;25.51181&lt;/Height&gt;&#10;    &lt;/SubGrid&gt;&#10;    &lt;SubGrid&gt;&#10;      &lt;Left&gt;404.409454&lt;/Left&gt;&#10;      &lt;Top&gt;295.5118&lt;/Top&gt;&#10;      &lt;Width&gt;151.1811&lt;/Width&gt;&#10;      &lt;Height&gt;25.51181&lt;/Height&gt;&#10;    &lt;/SubGrid&gt;&#10;    &lt;SubGrid&gt;&#10;      &lt;Left&gt;555.5906&lt;/Left&gt;&#10;      &lt;Top&gt;295.5118&lt;/Top&gt;&#10;      &lt;Width&gt;25.51181&lt;/Width&gt;&#10;      &lt;Height&gt;25.51181&lt;/Height&gt;&#10;    &lt;/SubGrid&gt;&#10;    &lt;SubGrid&gt;&#10;      &lt;Left&gt;404.409454&lt;/Left&gt;&#10;      &lt;Top&gt;270&lt;/Top&gt;&#10;      &lt;Width&gt;151.1811&lt;/Width&gt;&#10;      &lt;Height&gt;25.51181&lt;/Height&gt;&#10;    &lt;/SubGrid&gt;&#10;    &lt;SubGrid&gt;&#10;      &lt;Left&gt;555.5906&lt;/Left&gt;&#10;      &lt;Top&gt;270&lt;/Top&gt;&#10;      &lt;Width&gt;25.51181&lt;/Width&gt;&#10;      &lt;Height&gt;25.51181&lt;/Height&gt;&#10;    &lt;/SubGrid&gt;&#10;    &lt;SubGrid&gt;&#10;      &lt;Left&gt;404.409454&lt;/Left&gt;&#10;      &lt;Top&gt;244.48819&lt;/Top&gt;&#10;      &lt;Width&gt;151.1811&lt;/Width&gt;&#10;      &lt;Height&gt;25.51181&lt;/Height&gt;&#10;    &lt;/SubGrid&gt;&#10;    &lt;SubGrid&gt;&#10;      &lt;Left&gt;555.5906&lt;/Left&gt;&#10;      &lt;Top&gt;244.48819&lt;/Top&gt;&#10;      &lt;Width&gt;25.51181&lt;/Width&gt;&#10;      &lt;Height&gt;25.51181&lt;/Height&gt;&#10;    &lt;/SubGrid&gt;&#10;    &lt;SubGrid&gt;&#10;      &lt;Left&gt;404.409454&lt;/Left&gt;&#10;      &lt;Top&gt;218.976379&lt;/Top&gt;&#10;      &lt;Width&gt;151.1811&lt;/Width&gt;&#10;      &lt;Height&gt;25.51181&lt;/Height&gt;&#10;    &lt;/SubGrid&gt;&#10;    &lt;SubGrid&gt;&#10;      &lt;Left&gt;555.5906&lt;/Left&gt;&#10;      &lt;Top&gt;218.976379&lt;/Top&gt;&#10;      &lt;Width&gt;25.51181&lt;/Width&gt;&#10;      &lt;Height&gt;25.51181&lt;/Height&gt;&#10;    &lt;/SubGrid&gt;&#10;    &lt;SubGrid&gt;&#10;      &lt;Left&gt;581.102356&lt;/Left&gt;&#10;      &lt;Top&gt;295.5118&lt;/Top&gt;&#10;      &lt;Width&gt;151.1811&lt;/Width&gt;&#10;      &lt;Height&gt;25.51181&lt;/Height&gt;&#10;    &lt;/SubGrid&gt;&#10;    &lt;SubGrid&gt;&#10;      &lt;Left&gt;732.283447&lt;/Left&gt;&#10;      &lt;Top&gt;295.5118&lt;/Top&gt;&#10;      &lt;Width&gt;25.51181&lt;/Width&gt;&#10;      &lt;Height&gt;25.51181&lt;/Height&gt;&#10;    &lt;/SubGrid&gt;&#10;    &lt;SubGrid&gt;&#10;      &lt;Left&gt;581.102356&lt;/Left&gt;&#10;      &lt;Top&gt;270&lt;/Top&gt;&#10;      &lt;Width&gt;151.1811&lt;/Width&gt;&#10;      &lt;Height&gt;25.51181&lt;/Height&gt;&#10;    &lt;/SubGrid&gt;&#10;    &lt;SubGrid&gt;&#10;      &lt;Left&gt;732.283447&lt;/Left&gt;&#10;      &lt;Top&gt;270&lt;/Top&gt;&#10;      &lt;Width&gt;25.51181&lt;/Width&gt;&#10;      &lt;Height&gt;25.51181&lt;/Height&gt;&#10;    &lt;/SubGrid&gt;&#10;    &lt;SubGrid&gt;&#10;      &lt;Left&gt;581.102356&lt;/Left&gt;&#10;      &lt;Top&gt;244.48819&lt;/Top&gt;&#10;      &lt;Width&gt;151.1811&lt;/Width&gt;&#10;      &lt;Height&gt;25.51181&lt;/Height&gt;&#10;    &lt;/SubGrid&gt;&#10;    &lt;SubGrid&gt;&#10;      &lt;Left&gt;732.283447&lt;/Left&gt;&#10;      &lt;Top&gt;244.48819&lt;/Top&gt;&#10;      &lt;Width&gt;25.51181&lt;/Width&gt;&#10;      &lt;Height&gt;25.51181&lt;/Height&gt;&#10;    &lt;/SubGrid&gt;&#10;    &lt;SubGrid&gt;&#10;      &lt;Left&gt;581.102356&lt;/Left&gt;&#10;      &lt;Top&gt;218.976379&lt;/Top&gt;&#10;      &lt;Width&gt;151.1811&lt;/Width&gt;&#10;      &lt;Height&gt;25.51181&lt;/Height&gt;&#10;    &lt;/SubGrid&gt;&#10;    &lt;SubGrid&gt;&#10;      &lt;Left&gt;732.283447&lt;/Left&gt;&#10;      &lt;Top&gt;218.976379&lt;/Top&gt;&#10;      &lt;Width&gt;25.51181&lt;/Width&gt;&#10;      &lt;Height&gt;25.51181&lt;/Height&gt;&#10;    &lt;/SubGrid&gt;&#10;    &lt;SubGrid&gt;&#10;      &lt;Left&gt;757.7953&lt;/Left&gt;&#10;      &lt;Top&gt;295.5118&lt;/Top&gt;&#10;      &lt;Width&gt;151.1811&lt;/Width&gt;&#10;      &lt;Height&gt;25.51181&lt;/Height&gt;&#10;    &lt;/SubGrid&gt;&#10;    &lt;SubGrid&gt;&#10;      &lt;Left&gt;908.9764&lt;/Left&gt;&#10;      &lt;Top&gt;295.5118&lt;/Top&gt;&#10;      &lt;Width&gt;25.51181&lt;/Width&gt;&#10;      &lt;Height&gt;25.51181&lt;/Height&gt;&#10;    &lt;/SubGrid&gt;&#10;    &lt;SubGrid&gt;&#10;      &lt;Left&gt;757.7953&lt;/Left&gt;&#10;      &lt;Top&gt;270&lt;/Top&gt;&#10;      &lt;Width&gt;151.1811&lt;/Width&gt;&#10;      &lt;Height&gt;25.51181&lt;/Height&gt;&#10;    &lt;/SubGrid&gt;&#10;    &lt;SubGrid&gt;&#10;      &lt;Left&gt;908.9764&lt;/Left&gt;&#10;      &lt;Top&gt;270&lt;/Top&gt;&#10;      &lt;Width&gt;25.51181&lt;/Width&gt;&#10;      &lt;Height&gt;25.51181&lt;/Height&gt;&#10;    &lt;/SubGrid&gt;&#10;    &lt;SubGrid&gt;&#10;      &lt;Left&gt;757.7953&lt;/Left&gt;&#10;      &lt;Top&gt;244.48819&lt;/Top&gt;&#10;      &lt;Width&gt;151.1811&lt;/Width&gt;&#10;      &lt;Height&gt;25.51181&lt;/Height&gt;&#10;    &lt;/SubGrid&gt;&#10;    &lt;SubGrid&gt;&#10;      &lt;Left&gt;908.9764&lt;/Left&gt;&#10;      &lt;Top&gt;244.48819&lt;/Top&gt;&#10;      &lt;Width&gt;25.51181&lt;/Width&gt;&#10;      &lt;Height&gt;25.51181&lt;/Height&gt;&#10;    &lt;/SubGrid&gt;&#10;    &lt;SubGrid&gt;&#10;      &lt;Left&gt;757.7953&lt;/Left&gt;&#10;      &lt;Top&gt;218.976379&lt;/Top&gt;&#10;      &lt;Width&gt;151.1811&lt;/Width&gt;&#10;      &lt;Height&gt;25.51181&lt;/Height&gt;&#10;    &lt;/SubGrid&gt;&#10;    &lt;SubGrid&gt;&#10;      &lt;Left&gt;908.9764&lt;/Left&gt;&#10;      &lt;Top&gt;218.976379&lt;/Top&gt;&#10;      &lt;Width&gt;25.51181&lt;/Width&gt;&#10;      &lt;Height&gt;25.51181&lt;/Height&gt;&#10;    &lt;/SubGrid&gt;&#10;    &lt;SubGrid&gt;&#10;      &lt;Left&gt;25.51181&lt;/Left&gt;&#10;      &lt;Top&gt;51.02362&lt;/Top&gt;&#10;      &lt;Width&gt;25.51181&lt;/Width&gt;&#10;      &lt;Height&gt;167.952759&lt;/Height&gt;&#10;    &lt;/SubGrid&gt;&#10;    &lt;SubGrid&gt;&#10;      &lt;Left&gt;202.204727&lt;/Left&gt;&#10;      &lt;Top&gt;51.02362&lt;/Top&gt;&#10;      &lt;Width&gt;25.51181&lt;/Width&gt;&#10;      &lt;Height&gt;167.952759&lt;/Height&gt;&#10;    &lt;/SubGrid&gt;&#10;    &lt;SubGrid&gt;&#10;      &lt;Left&gt;378.897644&lt;/Left&gt;&#10;      &lt;Top&gt;51.02362&lt;/Top&gt;&#10;      &lt;Width&gt;25.51181&lt;/Width&gt;&#10;      &lt;Height&gt;167.952759&lt;/Height&gt;&#10;    &lt;/SubGrid&gt;&#10;    &lt;SubGrid&gt;&#10;      &lt;Left&gt;555.5906&lt;/Left&gt;&#10;      &lt;Top&gt;51.02362&lt;/Top&gt;&#10;      &lt;Width&gt;25.51181&lt;/Width&gt;&#10;      &lt;Height&gt;167.952759&lt;/Height&gt;&#10;    &lt;/SubGrid&gt;&#10;    &lt;SubGrid&gt;&#10;      &lt;Left&gt;732.283447&lt;/Left&gt;&#10;      &lt;Top&gt;51.02362&lt;/Top&gt;&#10;      &lt;Width&gt;25.51181&lt;/Width&gt;&#10;      &lt;Height&gt;167.952759&lt;/Height&gt;&#10;    &lt;/SubGrid&gt;&#10;    &lt;SubGrid&gt;&#10;      &lt;Left&gt;908.9764&lt;/Left&gt;&#10;      &lt;Top&gt;51.02362&lt;/Top&gt;&#10;      &lt;Width&gt;25.51181&lt;/Width&gt;&#10;      &lt;Height&gt;167.952759&lt;/Height&gt;&#10;    &lt;/SubGrid&gt;&#10;    &lt;SubGrid&gt;&#10;      &lt;Left&gt;25.51181&lt;/Left&gt;&#10;      &lt;Top&gt;321.023621&lt;/Top&gt;&#10;      &lt;Width&gt;25.51181&lt;/Width&gt;&#10;      &lt;Height&gt;167.952759&lt;/Height&gt;&#10;    &lt;/SubGrid&gt;&#10;    &lt;SubGrid&gt;&#10;      &lt;Left&gt;202.204727&lt;/Left&gt;&#10;      &lt;Top&gt;321.023621&lt;/Top&gt;&#10;      &lt;Width&gt;25.51181&lt;/Width&gt;&#10;      &lt;Height&gt;167.952759&lt;/Height&gt;&#10;    &lt;/SubGrid&gt;&#10;    &lt;SubGrid&gt;&#10;      &lt;Left&gt;378.897644&lt;/Left&gt;&#10;      &lt;Top&gt;321.023621&lt;/Top&gt;&#10;      &lt;Width&gt;25.51181&lt;/Width&gt;&#10;      &lt;Height&gt;167.952759&lt;/Height&gt;&#10;    &lt;/SubGrid&gt;&#10;    &lt;SubGrid&gt;&#10;      &lt;Left&gt;555.5906&lt;/Left&gt;&#10;      &lt;Top&gt;321.023621&lt;/Top&gt;&#10;      &lt;Width&gt;25.51181&lt;/Width&gt;&#10;      &lt;Height&gt;167.952759&lt;/Height&gt;&#10;    &lt;/SubGrid&gt;&#10;    &lt;SubGrid&gt;&#10;      &lt;Left&gt;732.283447&lt;/Left&gt;&#10;      &lt;Top&gt;321.023621&lt;/Top&gt;&#10;      &lt;Width&gt;25.51181&lt;/Width&gt;&#10;      &lt;Height&gt;167.952759&lt;/Height&gt;&#10;    &lt;/SubGrid&gt;&#10;    &lt;SubGrid&gt;&#10;      &lt;Left&gt;908.9764&lt;/Left&gt;&#10;      &lt;Top&gt;321.023621&lt;/Top&gt;&#10;      &lt;Width&gt;25.51181&lt;/Width&gt;&#10;      &lt;Height&gt;167.952759&lt;/Height&gt;&#10;    &lt;/SubGrid&gt;&#10;    &lt;SubGrid&gt;&#10;      &lt;Left&gt;51.02362&lt;/Left&gt;&#10;      &lt;Top&gt;51.02362&lt;/Top&gt;&#10;      &lt;Width&gt;151.1811&lt;/Width&gt;&#10;      &lt;Height&gt;167.952759&lt;/Height&gt;&#10;    &lt;/SubGrid&gt;&#10;    &lt;SubGrid&gt;&#10;      &lt;Left&gt;227.716537&lt;/Left&gt;&#10;      &lt;Top&gt;51.02362&lt;/Top&gt;&#10;      &lt;Width&gt;151.1811&lt;/Width&gt;&#10;      &lt;Height&gt;167.952759&lt;/Height&gt;&#10;    &lt;/SubGrid&gt;&#10;    &lt;SubGrid&gt;&#10;      &lt;Left&gt;404.409454&lt;/Left&gt;&#10;      &lt;Top&gt;51.02362&lt;/Top&gt;&#10;      &lt;Width&gt;151.1811&lt;/Width&gt;&#10;      &lt;Height&gt;167.952759&lt;/Height&gt;&#10;    &lt;/SubGrid&gt;&#10;    &lt;SubGrid&gt;&#10;      &lt;Left&gt;581.102356&lt;/Left&gt;&#10;      &lt;Top&gt;51.02362&lt;/Top&gt;&#10;      &lt;Width&gt;151.1811&lt;/Width&gt;&#10;      &lt;Height&gt;167.952759&lt;/Height&gt;&#10;    &lt;/SubGrid&gt;&#10;    &lt;SubGrid&gt;&#10;      &lt;Left&gt;757.7953&lt;/Left&gt;&#10;      &lt;Top&gt;51.02362&lt;/Top&gt;&#10;      &lt;Width&gt;151.1811&lt;/Width&gt;&#10;      &lt;Height&gt;167.952759&lt;/Height&gt;&#10;    &lt;/SubGrid&gt;&#10;    &lt;SubGrid&gt;&#10;      &lt;Left&gt;51.02362&lt;/Left&gt;&#10;      &lt;Top&gt;321.023621&lt;/Top&gt;&#10;      &lt;Width&gt;151.1811&lt;/Width&gt;&#10;      &lt;Height&gt;167.952759&lt;/Height&gt;&#10;    &lt;/SubGrid&gt;&#10;    &lt;SubGrid&gt;&#10;      &lt;Left&gt;227.716537&lt;/Left&gt;&#10;      &lt;Top&gt;321.023621&lt;/Top&gt;&#10;      &lt;Width&gt;151.1811&lt;/Width&gt;&#10;      &lt;Height&gt;167.952759&lt;/Height&gt;&#10;    &lt;/SubGrid&gt;&#10;    &lt;SubGrid&gt;&#10;      &lt;Left&gt;404.409454&lt;/Left&gt;&#10;      &lt;Top&gt;321.023621&lt;/Top&gt;&#10;      &lt;Width&gt;151.1811&lt;/Width&gt;&#10;      &lt;Height&gt;167.952759&lt;/Height&gt;&#10;    &lt;/SubGrid&gt;&#10;    &lt;SubGrid&gt;&#10;      &lt;Left&gt;581.102356&lt;/Left&gt;&#10;      &lt;Top&gt;321.023621&lt;/Top&gt;&#10;      &lt;Width&gt;151.1811&lt;/Width&gt;&#10;      &lt;Height&gt;167.952759&lt;/Height&gt;&#10;    &lt;/SubGrid&gt;&#10;    &lt;SubGrid&gt;&#10;      &lt;Left&gt;757.7953&lt;/Left&gt;&#10;      &lt;Top&gt;321.023621&lt;/Top&gt;&#10;      &lt;Width&gt;151.1811&lt;/Width&gt;&#10;      &lt;Height&gt;167.952759&lt;/Height&gt;&#10;    &lt;/SubGrid&gt;&#10;  &lt;/SubGrids&gt;&#10;  &lt;WorkArea&gt;&#10;    &lt;Top&gt;25.51181&lt;/Top&gt;&#10;    &lt;Left&gt;25.51181&lt;/Left&gt;&#10;    &lt;Width&gt;908.9764&lt;/Width&gt;&#10;    &lt;Height&gt;488.976379&lt;/Height&gt;&#10;  &lt;/WorkArea&gt;&#10;  &lt;AspectW&gt;-1&lt;/AspectW&gt;&#10;  &lt;AspectH&gt;-1&lt;/AspectH&gt;&#10;  &lt;Width&gt;960&lt;/Width&gt;&#10;  &lt;Height&gt;540&lt;/Height&gt;&#10;  &lt;HGap&gt;5&lt;/HGap&gt;&#10;  &lt;VGap&gt;5&lt;/VGap&gt;&#10;  &lt;OfficeVersion&gt;-1&lt;/OfficeVersion&gt;&#10;&lt;/GridTheme&gt;" hidden="1">
            <a:extLst>
              <a:ext uri="{FF2B5EF4-FFF2-40B4-BE49-F238E27FC236}">
                <a16:creationId xmlns:a16="http://schemas.microsoft.com/office/drawing/2014/main" id="{F5F0A4E1-4330-49F4-88F5-A83195F8511C}"/>
              </a:ext>
            </a:extLst>
          </p:cNvPr>
          <p:cNvSpPr/>
          <p:nvPr userDrawn="1"/>
        </p:nvSpPr>
        <p:spPr>
          <a:xfrm>
            <a:off x="324000" y="324000"/>
            <a:ext cx="11544000" cy="6210000"/>
          </a:xfrm>
          <a:prstGeom prst="rect">
            <a:avLst/>
          </a:prstGeom>
          <a:solidFill>
            <a:srgbClr val="E6E6E6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30BD45F-E3FD-4877-8E01-D258D6C49ED2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32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1F8F4EB-98F9-49C6-AD23-0434FEEA7DAD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648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461F43A-D29F-4117-83B4-78ECC6A90694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2568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3885B838-2022-4A1F-A84B-BB1127E2EE43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2892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AC6417FB-6B96-4CAA-9A61-CE3C85379335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4812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88F2338E-050E-4997-B5FD-16609E6B05AC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5136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65330914-84C1-4EFF-8088-9FF9153B21A3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7056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0D9F1F0C-68CC-4F13-A58D-7D5850D6BABB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7380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CD1A103-17AC-4A34-8A1D-92E20B67C019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9300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6D17E478-3C99-48E5-91A4-253FD970A082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9624000" y="324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ACBDE3FC-87C8-4EA6-8040-812BA3745D76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11544000" y="324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994EE5B0-B3FC-43D9-8B31-B03CA4819265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32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71B943CE-F983-40CB-852B-B348DA0EECF9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32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195AE9FF-57B5-4B28-95BD-65EB616F8339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32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09C4273C-D9B3-4E1C-BECF-E403BC0FED81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32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D61A9C98-DFAC-4C93-9FC3-FA4B7268AFD4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648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2738953D-847C-44BC-BB1D-3E35D57608D4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2568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A85DD5C0-07B7-493F-ACD2-090488BDD5B6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648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2D03EC4E-106A-492D-9392-E8DAE462F1BE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2568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id="{20022031-21E7-4D6F-92EB-D2DDACC3013D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648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0D8C0033-6DD1-44FA-8D1E-C266A6CB5E58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2568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5405C511-8E76-4F70-B418-D42EFC88B59C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648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id="{3A318B50-011A-4077-B856-5AA6365091AC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2568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id="{6A2BCA5B-FE07-43B1-A4B7-31BD6164A6E4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32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5C40FFBD-7783-45AC-8A2B-097F0420F8BE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648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4CEBE773-5EE2-48C7-957B-8390AB5ACC07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2568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id="{A88B1085-4452-48B2-ABE2-B39A1F2C8B5C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2892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id="{35677462-D07F-483C-9C29-E04937D96970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4812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719982BD-DEFC-4091-A576-C424DBA3C4DD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5136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id="{09DABF0B-9E1E-4C4B-B44A-B858D0F51253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7056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id="{4C2D3A6A-66FD-4AEE-8C1E-B6E5EECF6AC4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7380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id="{2D1F338B-CF9E-4B33-946A-4DB709760AF6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9300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id="{C62DDC7A-A75D-47D1-8199-CF07F2BDFB07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9624000" y="6210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id="{58B5BE77-B2A7-4D7F-8E0B-C3E954ED65B5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11544000" y="6210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id="{FCFBBBC3-8FB6-4FAC-ADAD-D2D96E64A22C}"/>
              </a:ext>
            </a:extLst>
          </p:cNvPr>
          <p:cNvSpPr/>
          <p:nvPr userDrawn="1">
            <p:custDataLst>
              <p:tags r:id="rId76"/>
            </p:custDataLst>
          </p:nvPr>
        </p:nvSpPr>
        <p:spPr>
          <a:xfrm>
            <a:off x="2892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id="{2C5A7DD2-B5CE-413A-9B54-583BA9EBCDFF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4812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2" name="Rectangle 61" hidden="1">
            <a:extLst>
              <a:ext uri="{FF2B5EF4-FFF2-40B4-BE49-F238E27FC236}">
                <a16:creationId xmlns:a16="http://schemas.microsoft.com/office/drawing/2014/main" id="{D9461BA4-4B7F-4140-AC43-136B90730752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2892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3" name="Rectangle 62" hidden="1">
            <a:extLst>
              <a:ext uri="{FF2B5EF4-FFF2-40B4-BE49-F238E27FC236}">
                <a16:creationId xmlns:a16="http://schemas.microsoft.com/office/drawing/2014/main" id="{DEB946CF-96A1-4659-9385-72D850C9C025}"/>
              </a:ext>
            </a:extLst>
          </p:cNvPr>
          <p:cNvSpPr/>
          <p:nvPr userDrawn="1">
            <p:custDataLst>
              <p:tags r:id="rId79"/>
            </p:custDataLst>
          </p:nvPr>
        </p:nvSpPr>
        <p:spPr>
          <a:xfrm>
            <a:off x="4812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4" name="Rectangle 63" hidden="1">
            <a:extLst>
              <a:ext uri="{FF2B5EF4-FFF2-40B4-BE49-F238E27FC236}">
                <a16:creationId xmlns:a16="http://schemas.microsoft.com/office/drawing/2014/main" id="{742C5205-4F49-47AB-B503-BC7F63858642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2892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5" name="Rectangle 64" hidden="1">
            <a:extLst>
              <a:ext uri="{FF2B5EF4-FFF2-40B4-BE49-F238E27FC236}">
                <a16:creationId xmlns:a16="http://schemas.microsoft.com/office/drawing/2014/main" id="{5B2DC920-B604-43E9-ADC1-B26167353D44}"/>
              </a:ext>
            </a:extLst>
          </p:cNvPr>
          <p:cNvSpPr/>
          <p:nvPr userDrawn="1">
            <p:custDataLst>
              <p:tags r:id="rId81"/>
            </p:custDataLst>
          </p:nvPr>
        </p:nvSpPr>
        <p:spPr>
          <a:xfrm>
            <a:off x="4812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6" name="Rectangle 65" hidden="1">
            <a:extLst>
              <a:ext uri="{FF2B5EF4-FFF2-40B4-BE49-F238E27FC236}">
                <a16:creationId xmlns:a16="http://schemas.microsoft.com/office/drawing/2014/main" id="{419CE6B2-B4FC-4BBD-937B-2FAF2EC436EB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2892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7" name="Rectangle 66" hidden="1">
            <a:extLst>
              <a:ext uri="{FF2B5EF4-FFF2-40B4-BE49-F238E27FC236}">
                <a16:creationId xmlns:a16="http://schemas.microsoft.com/office/drawing/2014/main" id="{24F744BF-7A2A-44A1-99AF-BF4D80F50B40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4812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8" name="Rectangle 67" hidden="1">
            <a:extLst>
              <a:ext uri="{FF2B5EF4-FFF2-40B4-BE49-F238E27FC236}">
                <a16:creationId xmlns:a16="http://schemas.microsoft.com/office/drawing/2014/main" id="{4A561C12-BD2C-4ABE-9ACE-047842A9B253}"/>
              </a:ext>
            </a:extLst>
          </p:cNvPr>
          <p:cNvSpPr/>
          <p:nvPr userDrawn="1">
            <p:custDataLst>
              <p:tags r:id="rId84"/>
            </p:custDataLst>
          </p:nvPr>
        </p:nvSpPr>
        <p:spPr>
          <a:xfrm>
            <a:off x="5136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id="{1F79B3EE-7015-44C0-B98B-D7976E3CC6C0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7056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0" name="Rectangle 69" hidden="1">
            <a:extLst>
              <a:ext uri="{FF2B5EF4-FFF2-40B4-BE49-F238E27FC236}">
                <a16:creationId xmlns:a16="http://schemas.microsoft.com/office/drawing/2014/main" id="{55195DF3-05B5-49EC-8E2A-6D131BFB07E4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5136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id="{6C7ACCBF-3785-451F-8D26-06EB8169ED29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7056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0DB1FB36-F0B8-4569-B24C-A7FE882E3A0D}"/>
              </a:ext>
            </a:extLst>
          </p:cNvPr>
          <p:cNvSpPr/>
          <p:nvPr userDrawn="1">
            <p:custDataLst>
              <p:tags r:id="rId88"/>
            </p:custDataLst>
          </p:nvPr>
        </p:nvSpPr>
        <p:spPr>
          <a:xfrm>
            <a:off x="5136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3" name="Rectangle 72" hidden="1">
            <a:extLst>
              <a:ext uri="{FF2B5EF4-FFF2-40B4-BE49-F238E27FC236}">
                <a16:creationId xmlns:a16="http://schemas.microsoft.com/office/drawing/2014/main" id="{A16BF7E9-5EB1-4763-B3B3-B9BDDFCE9368}"/>
              </a:ext>
            </a:extLst>
          </p:cNvPr>
          <p:cNvSpPr/>
          <p:nvPr userDrawn="1">
            <p:custDataLst>
              <p:tags r:id="rId89"/>
            </p:custDataLst>
          </p:nvPr>
        </p:nvSpPr>
        <p:spPr>
          <a:xfrm>
            <a:off x="7056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4" name="Rectangle 73" hidden="1">
            <a:extLst>
              <a:ext uri="{FF2B5EF4-FFF2-40B4-BE49-F238E27FC236}">
                <a16:creationId xmlns:a16="http://schemas.microsoft.com/office/drawing/2014/main" id="{B859330A-8EF0-4EC1-8579-E436CA633192}"/>
              </a:ext>
            </a:extLst>
          </p:cNvPr>
          <p:cNvSpPr/>
          <p:nvPr userDrawn="1">
            <p:custDataLst>
              <p:tags r:id="rId90"/>
            </p:custDataLst>
          </p:nvPr>
        </p:nvSpPr>
        <p:spPr>
          <a:xfrm>
            <a:off x="5136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5" name="Rectangle 74" hidden="1">
            <a:extLst>
              <a:ext uri="{FF2B5EF4-FFF2-40B4-BE49-F238E27FC236}">
                <a16:creationId xmlns:a16="http://schemas.microsoft.com/office/drawing/2014/main" id="{28ADAA1F-5B13-4CA7-92F6-B9BD284DD1E1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7056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6" name="Rectangle 75" hidden="1">
            <a:extLst>
              <a:ext uri="{FF2B5EF4-FFF2-40B4-BE49-F238E27FC236}">
                <a16:creationId xmlns:a16="http://schemas.microsoft.com/office/drawing/2014/main" id="{D063FCBC-0F82-4BF7-A4F3-63086372BCA1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7380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7" name="Rectangle 76" hidden="1">
            <a:extLst>
              <a:ext uri="{FF2B5EF4-FFF2-40B4-BE49-F238E27FC236}">
                <a16:creationId xmlns:a16="http://schemas.microsoft.com/office/drawing/2014/main" id="{CE645546-D2AC-47E6-9FEE-B872688AACBC}"/>
              </a:ext>
            </a:extLst>
          </p:cNvPr>
          <p:cNvSpPr/>
          <p:nvPr userDrawn="1">
            <p:custDataLst>
              <p:tags r:id="rId93"/>
            </p:custDataLst>
          </p:nvPr>
        </p:nvSpPr>
        <p:spPr>
          <a:xfrm>
            <a:off x="9300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8" name="Rectangle 77" hidden="1">
            <a:extLst>
              <a:ext uri="{FF2B5EF4-FFF2-40B4-BE49-F238E27FC236}">
                <a16:creationId xmlns:a16="http://schemas.microsoft.com/office/drawing/2014/main" id="{67D40869-4909-44AB-ADF7-F7E881C8F368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7380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9" name="Rectangle 78" hidden="1">
            <a:extLst>
              <a:ext uri="{FF2B5EF4-FFF2-40B4-BE49-F238E27FC236}">
                <a16:creationId xmlns:a16="http://schemas.microsoft.com/office/drawing/2014/main" id="{135A9F82-A30E-49D6-85D5-F27123AF0F10}"/>
              </a:ext>
            </a:extLst>
          </p:cNvPr>
          <p:cNvSpPr/>
          <p:nvPr userDrawn="1">
            <p:custDataLst>
              <p:tags r:id="rId95"/>
            </p:custDataLst>
          </p:nvPr>
        </p:nvSpPr>
        <p:spPr>
          <a:xfrm>
            <a:off x="9300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0" name="Rectangle 79" hidden="1">
            <a:extLst>
              <a:ext uri="{FF2B5EF4-FFF2-40B4-BE49-F238E27FC236}">
                <a16:creationId xmlns:a16="http://schemas.microsoft.com/office/drawing/2014/main" id="{95983F4E-3EE6-4BD7-AD35-C47ED01C5ED4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7380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1" name="Rectangle 80" hidden="1">
            <a:extLst>
              <a:ext uri="{FF2B5EF4-FFF2-40B4-BE49-F238E27FC236}">
                <a16:creationId xmlns:a16="http://schemas.microsoft.com/office/drawing/2014/main" id="{F717EFA4-0ED4-4A46-9AFD-0F0A6E65D253}"/>
              </a:ext>
            </a:extLst>
          </p:cNvPr>
          <p:cNvSpPr/>
          <p:nvPr userDrawn="1">
            <p:custDataLst>
              <p:tags r:id="rId97"/>
            </p:custDataLst>
          </p:nvPr>
        </p:nvSpPr>
        <p:spPr>
          <a:xfrm>
            <a:off x="9300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2" name="Rectangle 81" hidden="1">
            <a:extLst>
              <a:ext uri="{FF2B5EF4-FFF2-40B4-BE49-F238E27FC236}">
                <a16:creationId xmlns:a16="http://schemas.microsoft.com/office/drawing/2014/main" id="{6E85224F-39CC-4044-9201-BDF5309E2509}"/>
              </a:ext>
            </a:extLst>
          </p:cNvPr>
          <p:cNvSpPr/>
          <p:nvPr userDrawn="1">
            <p:custDataLst>
              <p:tags r:id="rId98"/>
            </p:custDataLst>
          </p:nvPr>
        </p:nvSpPr>
        <p:spPr>
          <a:xfrm>
            <a:off x="7380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C5FFBE79-1CFF-48A7-9FA3-6763881AA963}"/>
              </a:ext>
            </a:extLst>
          </p:cNvPr>
          <p:cNvSpPr/>
          <p:nvPr userDrawn="1">
            <p:custDataLst>
              <p:tags r:id="rId99"/>
            </p:custDataLst>
          </p:nvPr>
        </p:nvSpPr>
        <p:spPr>
          <a:xfrm>
            <a:off x="9300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4" name="Rectangle 83" hidden="1">
            <a:extLst>
              <a:ext uri="{FF2B5EF4-FFF2-40B4-BE49-F238E27FC236}">
                <a16:creationId xmlns:a16="http://schemas.microsoft.com/office/drawing/2014/main" id="{C7039B6D-AC56-40A5-858D-599754E1E0AD}"/>
              </a:ext>
            </a:extLst>
          </p:cNvPr>
          <p:cNvSpPr/>
          <p:nvPr userDrawn="1">
            <p:custDataLst>
              <p:tags r:id="rId100"/>
            </p:custDataLst>
          </p:nvPr>
        </p:nvSpPr>
        <p:spPr>
          <a:xfrm>
            <a:off x="9624000" y="3753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5" name="Rectangle 84" hidden="1">
            <a:extLst>
              <a:ext uri="{FF2B5EF4-FFF2-40B4-BE49-F238E27FC236}">
                <a16:creationId xmlns:a16="http://schemas.microsoft.com/office/drawing/2014/main" id="{71018EC8-1FEE-415C-B1E0-DAFC251C6F4F}"/>
              </a:ext>
            </a:extLst>
          </p:cNvPr>
          <p:cNvSpPr/>
          <p:nvPr userDrawn="1">
            <p:custDataLst>
              <p:tags r:id="rId101"/>
            </p:custDataLst>
          </p:nvPr>
        </p:nvSpPr>
        <p:spPr>
          <a:xfrm>
            <a:off x="11544000" y="3753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6" name="Rectangle 85" hidden="1">
            <a:extLst>
              <a:ext uri="{FF2B5EF4-FFF2-40B4-BE49-F238E27FC236}">
                <a16:creationId xmlns:a16="http://schemas.microsoft.com/office/drawing/2014/main" id="{33D0B803-F928-4AB8-9FA8-7A2550C65926}"/>
              </a:ext>
            </a:extLst>
          </p:cNvPr>
          <p:cNvSpPr/>
          <p:nvPr userDrawn="1">
            <p:custDataLst>
              <p:tags r:id="rId102"/>
            </p:custDataLst>
          </p:nvPr>
        </p:nvSpPr>
        <p:spPr>
          <a:xfrm>
            <a:off x="9624000" y="3429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id="{A74BCB38-7D1D-4BB9-94CE-ADBDC5DAB010}"/>
              </a:ext>
            </a:extLst>
          </p:cNvPr>
          <p:cNvSpPr/>
          <p:nvPr userDrawn="1">
            <p:custDataLst>
              <p:tags r:id="rId103"/>
            </p:custDataLst>
          </p:nvPr>
        </p:nvSpPr>
        <p:spPr>
          <a:xfrm>
            <a:off x="11544000" y="3429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8" name="Rectangle 87" hidden="1">
            <a:extLst>
              <a:ext uri="{FF2B5EF4-FFF2-40B4-BE49-F238E27FC236}">
                <a16:creationId xmlns:a16="http://schemas.microsoft.com/office/drawing/2014/main" id="{6E6BC775-1DC0-42CB-BA95-EB6F78CFD0FE}"/>
              </a:ext>
            </a:extLst>
          </p:cNvPr>
          <p:cNvSpPr/>
          <p:nvPr userDrawn="1">
            <p:custDataLst>
              <p:tags r:id="rId104"/>
            </p:custDataLst>
          </p:nvPr>
        </p:nvSpPr>
        <p:spPr>
          <a:xfrm>
            <a:off x="9624000" y="3105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9" name="Rectangle 88" hidden="1">
            <a:extLst>
              <a:ext uri="{FF2B5EF4-FFF2-40B4-BE49-F238E27FC236}">
                <a16:creationId xmlns:a16="http://schemas.microsoft.com/office/drawing/2014/main" id="{95792BBB-2B34-4739-8C69-B66E64F8A279}"/>
              </a:ext>
            </a:extLst>
          </p:cNvPr>
          <p:cNvSpPr/>
          <p:nvPr userDrawn="1">
            <p:custDataLst>
              <p:tags r:id="rId105"/>
            </p:custDataLst>
          </p:nvPr>
        </p:nvSpPr>
        <p:spPr>
          <a:xfrm>
            <a:off x="11544000" y="3105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0" name="Rectangle 89" hidden="1">
            <a:extLst>
              <a:ext uri="{FF2B5EF4-FFF2-40B4-BE49-F238E27FC236}">
                <a16:creationId xmlns:a16="http://schemas.microsoft.com/office/drawing/2014/main" id="{E8FDD868-6922-48B4-976C-6F9677663DAF}"/>
              </a:ext>
            </a:extLst>
          </p:cNvPr>
          <p:cNvSpPr/>
          <p:nvPr userDrawn="1">
            <p:custDataLst>
              <p:tags r:id="rId106"/>
            </p:custDataLst>
          </p:nvPr>
        </p:nvSpPr>
        <p:spPr>
          <a:xfrm>
            <a:off x="9624000" y="2781000"/>
            <a:ext cx="1920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1" name="Rectangle 90" hidden="1">
            <a:extLst>
              <a:ext uri="{FF2B5EF4-FFF2-40B4-BE49-F238E27FC236}">
                <a16:creationId xmlns:a16="http://schemas.microsoft.com/office/drawing/2014/main" id="{E3A8AF86-B9FD-4654-82BA-248AF9D72F7C}"/>
              </a:ext>
            </a:extLst>
          </p:cNvPr>
          <p:cNvSpPr/>
          <p:nvPr userDrawn="1">
            <p:custDataLst>
              <p:tags r:id="rId107"/>
            </p:custDataLst>
          </p:nvPr>
        </p:nvSpPr>
        <p:spPr>
          <a:xfrm>
            <a:off x="11544000" y="2781000"/>
            <a:ext cx="324000" cy="324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2" name="Rectangle 91" hidden="1">
            <a:extLst>
              <a:ext uri="{FF2B5EF4-FFF2-40B4-BE49-F238E27FC236}">
                <a16:creationId xmlns:a16="http://schemas.microsoft.com/office/drawing/2014/main" id="{F1579785-2978-4428-A96D-6D6718940F9D}"/>
              </a:ext>
            </a:extLst>
          </p:cNvPr>
          <p:cNvSpPr/>
          <p:nvPr userDrawn="1">
            <p:custDataLst>
              <p:tags r:id="rId108"/>
            </p:custDataLst>
          </p:nvPr>
        </p:nvSpPr>
        <p:spPr>
          <a:xfrm>
            <a:off x="32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3" name="Rectangle 92" hidden="1">
            <a:extLst>
              <a:ext uri="{FF2B5EF4-FFF2-40B4-BE49-F238E27FC236}">
                <a16:creationId xmlns:a16="http://schemas.microsoft.com/office/drawing/2014/main" id="{0584FA97-4AB6-4A5E-91FB-95E9E602EA26}"/>
              </a:ext>
            </a:extLst>
          </p:cNvPr>
          <p:cNvSpPr/>
          <p:nvPr userDrawn="1">
            <p:custDataLst>
              <p:tags r:id="rId109"/>
            </p:custDataLst>
          </p:nvPr>
        </p:nvSpPr>
        <p:spPr>
          <a:xfrm>
            <a:off x="2568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4" name="Rectangle 93" hidden="1">
            <a:extLst>
              <a:ext uri="{FF2B5EF4-FFF2-40B4-BE49-F238E27FC236}">
                <a16:creationId xmlns:a16="http://schemas.microsoft.com/office/drawing/2014/main" id="{A48EE25C-475F-4316-B6A2-011BEE3BCD92}"/>
              </a:ext>
            </a:extLst>
          </p:cNvPr>
          <p:cNvSpPr/>
          <p:nvPr userDrawn="1">
            <p:custDataLst>
              <p:tags r:id="rId110"/>
            </p:custDataLst>
          </p:nvPr>
        </p:nvSpPr>
        <p:spPr>
          <a:xfrm>
            <a:off x="4812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5" name="Rectangle 94" hidden="1">
            <a:extLst>
              <a:ext uri="{FF2B5EF4-FFF2-40B4-BE49-F238E27FC236}">
                <a16:creationId xmlns:a16="http://schemas.microsoft.com/office/drawing/2014/main" id="{7E857FE4-C9A3-45B7-B041-66EE09495EEC}"/>
              </a:ext>
            </a:extLst>
          </p:cNvPr>
          <p:cNvSpPr/>
          <p:nvPr userDrawn="1">
            <p:custDataLst>
              <p:tags r:id="rId111"/>
            </p:custDataLst>
          </p:nvPr>
        </p:nvSpPr>
        <p:spPr>
          <a:xfrm>
            <a:off x="7056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6" name="Rectangle 95" hidden="1">
            <a:extLst>
              <a:ext uri="{FF2B5EF4-FFF2-40B4-BE49-F238E27FC236}">
                <a16:creationId xmlns:a16="http://schemas.microsoft.com/office/drawing/2014/main" id="{9B5A1CBD-EB02-4B45-AF38-AAD0F53B4AD5}"/>
              </a:ext>
            </a:extLst>
          </p:cNvPr>
          <p:cNvSpPr/>
          <p:nvPr userDrawn="1">
            <p:custDataLst>
              <p:tags r:id="rId112"/>
            </p:custDataLst>
          </p:nvPr>
        </p:nvSpPr>
        <p:spPr>
          <a:xfrm>
            <a:off x="9300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7" name="Rectangle 96" hidden="1">
            <a:extLst>
              <a:ext uri="{FF2B5EF4-FFF2-40B4-BE49-F238E27FC236}">
                <a16:creationId xmlns:a16="http://schemas.microsoft.com/office/drawing/2014/main" id="{B80B4760-EF40-4F2E-9A91-131FFC1E37B4}"/>
              </a:ext>
            </a:extLst>
          </p:cNvPr>
          <p:cNvSpPr/>
          <p:nvPr userDrawn="1">
            <p:custDataLst>
              <p:tags r:id="rId113"/>
            </p:custDataLst>
          </p:nvPr>
        </p:nvSpPr>
        <p:spPr>
          <a:xfrm>
            <a:off x="11544000" y="648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8" name="Rectangle 97" hidden="1">
            <a:extLst>
              <a:ext uri="{FF2B5EF4-FFF2-40B4-BE49-F238E27FC236}">
                <a16:creationId xmlns:a16="http://schemas.microsoft.com/office/drawing/2014/main" id="{8E8A7F77-3721-4815-B970-1D077CD2DA75}"/>
              </a:ext>
            </a:extLst>
          </p:cNvPr>
          <p:cNvSpPr/>
          <p:nvPr userDrawn="1">
            <p:custDataLst>
              <p:tags r:id="rId114"/>
            </p:custDataLst>
          </p:nvPr>
        </p:nvSpPr>
        <p:spPr>
          <a:xfrm>
            <a:off x="32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99" name="Rectangle 98" hidden="1">
            <a:extLst>
              <a:ext uri="{FF2B5EF4-FFF2-40B4-BE49-F238E27FC236}">
                <a16:creationId xmlns:a16="http://schemas.microsoft.com/office/drawing/2014/main" id="{55C42CA1-292D-4FB8-8399-74D1AD374EBE}"/>
              </a:ext>
            </a:extLst>
          </p:cNvPr>
          <p:cNvSpPr/>
          <p:nvPr userDrawn="1">
            <p:custDataLst>
              <p:tags r:id="rId115"/>
            </p:custDataLst>
          </p:nvPr>
        </p:nvSpPr>
        <p:spPr>
          <a:xfrm>
            <a:off x="2568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0" name="Rectangle 99" hidden="1">
            <a:extLst>
              <a:ext uri="{FF2B5EF4-FFF2-40B4-BE49-F238E27FC236}">
                <a16:creationId xmlns:a16="http://schemas.microsoft.com/office/drawing/2014/main" id="{76F4910F-0223-4A58-B2B3-CC1032CA6A96}"/>
              </a:ext>
            </a:extLst>
          </p:cNvPr>
          <p:cNvSpPr/>
          <p:nvPr userDrawn="1">
            <p:custDataLst>
              <p:tags r:id="rId116"/>
            </p:custDataLst>
          </p:nvPr>
        </p:nvSpPr>
        <p:spPr>
          <a:xfrm>
            <a:off x="4812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1" name="Rectangle 100" hidden="1">
            <a:extLst>
              <a:ext uri="{FF2B5EF4-FFF2-40B4-BE49-F238E27FC236}">
                <a16:creationId xmlns:a16="http://schemas.microsoft.com/office/drawing/2014/main" id="{309CA6FE-3AA4-4E04-82CE-33A9467E0E6A}"/>
              </a:ext>
            </a:extLst>
          </p:cNvPr>
          <p:cNvSpPr/>
          <p:nvPr userDrawn="1">
            <p:custDataLst>
              <p:tags r:id="rId117"/>
            </p:custDataLst>
          </p:nvPr>
        </p:nvSpPr>
        <p:spPr>
          <a:xfrm>
            <a:off x="7056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2" name="Rectangle 101" hidden="1">
            <a:extLst>
              <a:ext uri="{FF2B5EF4-FFF2-40B4-BE49-F238E27FC236}">
                <a16:creationId xmlns:a16="http://schemas.microsoft.com/office/drawing/2014/main" id="{D3FAE458-E122-4E17-A2BB-860390DB639B}"/>
              </a:ext>
            </a:extLst>
          </p:cNvPr>
          <p:cNvSpPr/>
          <p:nvPr userDrawn="1">
            <p:custDataLst>
              <p:tags r:id="rId118"/>
            </p:custDataLst>
          </p:nvPr>
        </p:nvSpPr>
        <p:spPr>
          <a:xfrm>
            <a:off x="9300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09CCF6D6-3C14-49F1-9CCF-BB2BB02BA463}"/>
              </a:ext>
            </a:extLst>
          </p:cNvPr>
          <p:cNvSpPr/>
          <p:nvPr userDrawn="1">
            <p:custDataLst>
              <p:tags r:id="rId119"/>
            </p:custDataLst>
          </p:nvPr>
        </p:nvSpPr>
        <p:spPr>
          <a:xfrm>
            <a:off x="11544000" y="4077000"/>
            <a:ext cx="324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4" name="Rectangle 103" hidden="1">
            <a:extLst>
              <a:ext uri="{FF2B5EF4-FFF2-40B4-BE49-F238E27FC236}">
                <a16:creationId xmlns:a16="http://schemas.microsoft.com/office/drawing/2014/main" id="{89199ED3-108C-4CB1-85A2-7274AF6D76B6}"/>
              </a:ext>
            </a:extLst>
          </p:cNvPr>
          <p:cNvSpPr/>
          <p:nvPr userDrawn="1">
            <p:custDataLst>
              <p:tags r:id="rId120"/>
            </p:custDataLst>
          </p:nvPr>
        </p:nvSpPr>
        <p:spPr>
          <a:xfrm>
            <a:off x="648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5" name="Rectangle 104" hidden="1">
            <a:extLst>
              <a:ext uri="{FF2B5EF4-FFF2-40B4-BE49-F238E27FC236}">
                <a16:creationId xmlns:a16="http://schemas.microsoft.com/office/drawing/2014/main" id="{F4889CBE-7887-46C6-99BA-4A154FF96016}"/>
              </a:ext>
            </a:extLst>
          </p:cNvPr>
          <p:cNvSpPr/>
          <p:nvPr userDrawn="1">
            <p:custDataLst>
              <p:tags r:id="rId121"/>
            </p:custDataLst>
          </p:nvPr>
        </p:nvSpPr>
        <p:spPr>
          <a:xfrm>
            <a:off x="2892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6" name="Rectangle 105" hidden="1">
            <a:extLst>
              <a:ext uri="{FF2B5EF4-FFF2-40B4-BE49-F238E27FC236}">
                <a16:creationId xmlns:a16="http://schemas.microsoft.com/office/drawing/2014/main" id="{2714EDDA-63CD-4C57-BF1D-55D84EF7DA1C}"/>
              </a:ext>
            </a:extLst>
          </p:cNvPr>
          <p:cNvSpPr/>
          <p:nvPr userDrawn="1">
            <p:custDataLst>
              <p:tags r:id="rId122"/>
            </p:custDataLst>
          </p:nvPr>
        </p:nvSpPr>
        <p:spPr>
          <a:xfrm>
            <a:off x="5136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7" name="Rectangle 106" hidden="1">
            <a:extLst>
              <a:ext uri="{FF2B5EF4-FFF2-40B4-BE49-F238E27FC236}">
                <a16:creationId xmlns:a16="http://schemas.microsoft.com/office/drawing/2014/main" id="{5A4A540B-AB24-4508-BDE2-193816CE6C2F}"/>
              </a:ext>
            </a:extLst>
          </p:cNvPr>
          <p:cNvSpPr/>
          <p:nvPr userDrawn="1">
            <p:custDataLst>
              <p:tags r:id="rId123"/>
            </p:custDataLst>
          </p:nvPr>
        </p:nvSpPr>
        <p:spPr>
          <a:xfrm>
            <a:off x="7380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8" name="Rectangle 107" hidden="1">
            <a:extLst>
              <a:ext uri="{FF2B5EF4-FFF2-40B4-BE49-F238E27FC236}">
                <a16:creationId xmlns:a16="http://schemas.microsoft.com/office/drawing/2014/main" id="{2E588317-42FC-4AFD-BF07-4EEAEA17B0FB}"/>
              </a:ext>
            </a:extLst>
          </p:cNvPr>
          <p:cNvSpPr/>
          <p:nvPr userDrawn="1">
            <p:custDataLst>
              <p:tags r:id="rId124"/>
            </p:custDataLst>
          </p:nvPr>
        </p:nvSpPr>
        <p:spPr>
          <a:xfrm>
            <a:off x="9624000" y="648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9" name="Rectangle 108" hidden="1">
            <a:extLst>
              <a:ext uri="{FF2B5EF4-FFF2-40B4-BE49-F238E27FC236}">
                <a16:creationId xmlns:a16="http://schemas.microsoft.com/office/drawing/2014/main" id="{409B9FF3-D5DB-4C25-942C-75E24E0BD588}"/>
              </a:ext>
            </a:extLst>
          </p:cNvPr>
          <p:cNvSpPr/>
          <p:nvPr userDrawn="1">
            <p:custDataLst>
              <p:tags r:id="rId125"/>
            </p:custDataLst>
          </p:nvPr>
        </p:nvSpPr>
        <p:spPr>
          <a:xfrm>
            <a:off x="648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0" name="Rectangle 109" hidden="1">
            <a:extLst>
              <a:ext uri="{FF2B5EF4-FFF2-40B4-BE49-F238E27FC236}">
                <a16:creationId xmlns:a16="http://schemas.microsoft.com/office/drawing/2014/main" id="{B34EB183-B95A-4A10-93F6-B2E688291320}"/>
              </a:ext>
            </a:extLst>
          </p:cNvPr>
          <p:cNvSpPr/>
          <p:nvPr userDrawn="1">
            <p:custDataLst>
              <p:tags r:id="rId126"/>
            </p:custDataLst>
          </p:nvPr>
        </p:nvSpPr>
        <p:spPr>
          <a:xfrm>
            <a:off x="2892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1" name="Rectangle 110" hidden="1">
            <a:extLst>
              <a:ext uri="{FF2B5EF4-FFF2-40B4-BE49-F238E27FC236}">
                <a16:creationId xmlns:a16="http://schemas.microsoft.com/office/drawing/2014/main" id="{9445802B-D13B-4448-BCCA-EAC068866CD3}"/>
              </a:ext>
            </a:extLst>
          </p:cNvPr>
          <p:cNvSpPr/>
          <p:nvPr userDrawn="1">
            <p:custDataLst>
              <p:tags r:id="rId127"/>
            </p:custDataLst>
          </p:nvPr>
        </p:nvSpPr>
        <p:spPr>
          <a:xfrm>
            <a:off x="5136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2" name="Rectangle 111" hidden="1">
            <a:extLst>
              <a:ext uri="{FF2B5EF4-FFF2-40B4-BE49-F238E27FC236}">
                <a16:creationId xmlns:a16="http://schemas.microsoft.com/office/drawing/2014/main" id="{C10B3B33-18E6-4256-821F-887D5B33BF81}"/>
              </a:ext>
            </a:extLst>
          </p:cNvPr>
          <p:cNvSpPr/>
          <p:nvPr userDrawn="1">
            <p:custDataLst>
              <p:tags r:id="rId128"/>
            </p:custDataLst>
          </p:nvPr>
        </p:nvSpPr>
        <p:spPr>
          <a:xfrm>
            <a:off x="7380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3" name="Rectangle 112" hidden="1">
            <a:extLst>
              <a:ext uri="{FF2B5EF4-FFF2-40B4-BE49-F238E27FC236}">
                <a16:creationId xmlns:a16="http://schemas.microsoft.com/office/drawing/2014/main" id="{C76950B1-616E-4DAB-A1C9-C18FEC9C31D4}"/>
              </a:ext>
            </a:extLst>
          </p:cNvPr>
          <p:cNvSpPr/>
          <p:nvPr userDrawn="1">
            <p:custDataLst>
              <p:tags r:id="rId129"/>
            </p:custDataLst>
          </p:nvPr>
        </p:nvSpPr>
        <p:spPr>
          <a:xfrm>
            <a:off x="9624000" y="4077000"/>
            <a:ext cx="1920000" cy="2133000"/>
          </a:xfrm>
          <a:prstGeom prst="rect">
            <a:avLst/>
          </a:prstGeom>
          <a:noFill/>
          <a:ln w="3175" cap="flat" cmpd="sng" algn="ctr">
            <a:solidFill>
              <a:srgbClr val="001965">
                <a:alpha val="30196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5" name="Tagline" descr="{&quot;templafy&quot;:{&quot;type&quot;:&quot;image&quot;,&quot;inheritDimensions&quot;:&quot;inheritNone&quot;,&quot;width&quot;:&quot;7.67 cm&quot;,&quot;binding&quot;:&quot;Form.PLogoChoice.PLogoInsertion&quot;}}" title="Form.PLogoChoice.PLogoInsertion">
            <a:extLst>
              <a:ext uri="{FF2B5EF4-FFF2-40B4-BE49-F238E27FC236}">
                <a16:creationId xmlns:a16="http://schemas.microsoft.com/office/drawing/2014/main" id="{1090779A-FA30-4EF9-809F-763A92C81AB1}"/>
              </a:ext>
            </a:extLst>
          </p:cNvPr>
          <p:cNvSpPr/>
          <p:nvPr userDrawn="1"/>
        </p:nvSpPr>
        <p:spPr>
          <a:xfrm>
            <a:off x="9240653" y="5336922"/>
            <a:ext cx="2760847" cy="1309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283213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  <p:sldLayoutId id="2147483820" r:id="rId12"/>
    <p:sldLayoutId id="2147483821" r:id="rId13"/>
    <p:sldLayoutId id="2147483822" r:id="rId14"/>
    <p:sldLayoutId id="2147483823" r:id="rId15"/>
    <p:sldLayoutId id="2147483824" r:id="rId16"/>
    <p:sldLayoutId id="2147483825" r:id="rId17"/>
    <p:sldLayoutId id="2147483826" r:id="rId18"/>
    <p:sldLayoutId id="2147483827" r:id="rId19"/>
    <p:sldLayoutId id="2147483828" r:id="rId20"/>
    <p:sldLayoutId id="2147483829" r:id="rId21"/>
    <p:sldLayoutId id="2147483830" r:id="rId22"/>
    <p:sldLayoutId id="2147483831" r:id="rId23"/>
    <p:sldLayoutId id="2147483832" r:id="rId24"/>
    <p:sldLayoutId id="2147483833" r:id="rId25"/>
    <p:sldLayoutId id="2147483834" r:id="rId26"/>
    <p:sldLayoutId id="2147483835" r:id="rId27"/>
    <p:sldLayoutId id="2147483836" r:id="rId28"/>
    <p:sldLayoutId id="2147483837" r:id="rId29"/>
    <p:sldLayoutId id="2147483838" r:id="rId30"/>
    <p:sldLayoutId id="2147483839" r:id="rId31"/>
    <p:sldLayoutId id="2147483840" r:id="rId32"/>
    <p:sldLayoutId id="2147483841" r:id="rId33"/>
    <p:sldLayoutId id="2147483842" r:id="rId34"/>
    <p:sldLayoutId id="2147483843" r:id="rId35"/>
    <p:sldLayoutId id="2147483844" r:id="rId36"/>
    <p:sldLayoutId id="2147483845" r:id="rId37"/>
    <p:sldLayoutId id="2147483846" r:id="rId38"/>
    <p:sldLayoutId id="2147483848" r:id="rId39"/>
    <p:sldLayoutId id="2147483849" r:id="rId40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Char char="​"/>
        <a:defRPr sz="1000" b="1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8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4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8">
          <p15:clr>
            <a:srgbClr val="A4A3A4"/>
          </p15:clr>
        </p15:guide>
        <p15:guide id="2" pos="1617">
          <p15:clr>
            <a:srgbClr val="A4A3A4"/>
          </p15:clr>
        </p15:guide>
        <p15:guide id="5" pos="3031">
          <p15:clr>
            <a:srgbClr val="A4A3A4"/>
          </p15:clr>
        </p15:guide>
        <p15:guide id="6" pos="3235">
          <p15:clr>
            <a:srgbClr val="A4A3A4"/>
          </p15:clr>
        </p15:guide>
        <p15:guide id="7" orient="horz" pos="3911">
          <p15:clr>
            <a:srgbClr val="A4A3A4"/>
          </p15:clr>
        </p15:guide>
        <p15:guide id="8" orient="horz" pos="4115">
          <p15:clr>
            <a:srgbClr val="A4A3A4"/>
          </p15:clr>
        </p15:guide>
        <p15:guide id="9" pos="6063">
          <p15:clr>
            <a:srgbClr val="A4A3A4"/>
          </p15:clr>
        </p15:guide>
        <p15:guide id="10" pos="7272">
          <p15:clr>
            <a:srgbClr val="A4A3A4"/>
          </p15:clr>
        </p15:guide>
        <p15:guide id="12" pos="4444">
          <p15:clr>
            <a:srgbClr val="A4A3A4"/>
          </p15:clr>
        </p15:guide>
        <p15:guide id="13" pos="4648">
          <p15:clr>
            <a:srgbClr val="A4A3A4"/>
          </p15:clr>
        </p15:guide>
        <p15:guide id="14" orient="horz" pos="204">
          <p15:clr>
            <a:srgbClr val="A4A3A4"/>
          </p15:clr>
        </p15:guide>
        <p15:guide id="15" orient="horz" pos="408">
          <p15:clr>
            <a:srgbClr val="A4A3A4"/>
          </p15:clr>
        </p15:guide>
        <p15:guide id="16" pos="1821">
          <p15:clr>
            <a:srgbClr val="A4A3A4"/>
          </p15:clr>
        </p15:guide>
        <p15:guide id="18" pos="5859">
          <p15:clr>
            <a:srgbClr val="A4A3A4"/>
          </p15:clr>
        </p15:guide>
        <p15:guide id="20" pos="7476">
          <p15:clr>
            <a:srgbClr val="A4A3A4"/>
          </p15:clr>
        </p15:guide>
        <p15:guide id="21" pos="204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8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image" Target="../media/image52.emf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emf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9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jpeg"/><Relationship Id="rId5" Type="http://schemas.openxmlformats.org/officeDocument/2006/relationships/image" Target="../media/image35.png"/><Relationship Id="rId4" Type="http://schemas.openxmlformats.org/officeDocument/2006/relationships/image" Target="../media/image3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7F1CCB64-8231-435F-87C9-78C908E393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87297" y="758952"/>
            <a:ext cx="6913548" cy="3227514"/>
          </a:xfrm>
        </p:spPr>
        <p:txBody>
          <a:bodyPr>
            <a:normAutofit/>
          </a:bodyPr>
          <a:lstStyle/>
          <a:p>
            <a:r>
              <a:rPr lang="it-IT" dirty="0"/>
              <a:t>Farmaci anti-obesità: molecole a confronto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6969F055-0303-4F06-CC1C-7050D4F00F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54065" y="4567638"/>
            <a:ext cx="1743075" cy="1123950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9174389B-5BEB-9F42-712F-4A161A674A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4726" y="4901013"/>
            <a:ext cx="3028950" cy="457200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2DD53D34-2505-F7C5-61AF-CCF4973E76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08848" y="4567638"/>
            <a:ext cx="1400175" cy="106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150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 descr="Immagine che contiene testo, schermata, Parallelo, diagramma&#10;&#10;Descrizione generata automaticamente">
            <a:extLst>
              <a:ext uri="{FF2B5EF4-FFF2-40B4-BE49-F238E27FC236}">
                <a16:creationId xmlns:a16="http://schemas.microsoft.com/office/drawing/2014/main" id="{F236753A-8428-5F44-5383-A7B3CB215B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1118" y="0"/>
            <a:ext cx="4969764" cy="6858000"/>
          </a:xfrm>
          <a:prstGeom prst="rect">
            <a:avLst/>
          </a:prstGeom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0C41BCCE-8191-D93E-96E5-F86D8DFAC8A3}"/>
              </a:ext>
            </a:extLst>
          </p:cNvPr>
          <p:cNvSpPr txBox="1"/>
          <p:nvPr/>
        </p:nvSpPr>
        <p:spPr>
          <a:xfrm>
            <a:off x="111853" y="6283295"/>
            <a:ext cx="6096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1" i="0" dirty="0">
                <a:solidFill>
                  <a:srgbClr val="4D4D4D"/>
                </a:solidFill>
                <a:effectLst/>
                <a:latin typeface="OTNEJMScalaSansLF"/>
              </a:rPr>
              <a:t>N </a:t>
            </a:r>
            <a:r>
              <a:rPr lang="en-US" b="1" i="0" dirty="0" err="1">
                <a:solidFill>
                  <a:srgbClr val="4D4D4D"/>
                </a:solidFill>
                <a:effectLst/>
                <a:latin typeface="OTNEJMScalaSansLF"/>
              </a:rPr>
              <a:t>Engl</a:t>
            </a:r>
            <a:r>
              <a:rPr lang="en-US" b="1" i="0" dirty="0">
                <a:solidFill>
                  <a:srgbClr val="4D4D4D"/>
                </a:solidFill>
                <a:effectLst/>
                <a:latin typeface="OTNEJMScalaSansLF"/>
              </a:rPr>
              <a:t> J Med 2021;384:989-1002</a:t>
            </a:r>
          </a:p>
          <a:p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0749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5A1C4C7C-BF36-85A0-0442-18154357AA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531" y="674255"/>
            <a:ext cx="7850696" cy="5779654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EC4DF631-8561-310F-1710-334AD1006B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31227" y="2946400"/>
            <a:ext cx="4020553" cy="2812472"/>
          </a:xfrm>
          <a:prstGeom prst="rect">
            <a:avLst/>
          </a:prstGeom>
        </p:spPr>
      </p:pic>
      <p:sp>
        <p:nvSpPr>
          <p:cNvPr id="5" name="Rettangolo 4">
            <a:extLst>
              <a:ext uri="{FF2B5EF4-FFF2-40B4-BE49-F238E27FC236}">
                <a16:creationId xmlns:a16="http://schemas.microsoft.com/office/drawing/2014/main" id="{5D180D4C-64A1-219B-F3A4-8C8A4A92884E}"/>
              </a:ext>
            </a:extLst>
          </p:cNvPr>
          <p:cNvSpPr/>
          <p:nvPr/>
        </p:nvSpPr>
        <p:spPr>
          <a:xfrm>
            <a:off x="8534400" y="2881745"/>
            <a:ext cx="304800" cy="2032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E57B2DE4-C1CD-018F-00FD-0F68AA8A0A6C}"/>
              </a:ext>
            </a:extLst>
          </p:cNvPr>
          <p:cNvSpPr txBox="1"/>
          <p:nvPr/>
        </p:nvSpPr>
        <p:spPr>
          <a:xfrm>
            <a:off x="8118995" y="6453909"/>
            <a:ext cx="432187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b="0" i="0" dirty="0">
                <a:solidFill>
                  <a:srgbClr val="212121"/>
                </a:solidFill>
                <a:effectLst/>
                <a:latin typeface="BlinkMacSystemFont"/>
              </a:rPr>
              <a:t>Lancet. 2021 Mar 13;397(10278):971-984. </a:t>
            </a:r>
            <a:endParaRPr lang="en-US" dirty="0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10772355-2837-7EB4-9583-8A67EA03BF85}"/>
              </a:ext>
            </a:extLst>
          </p:cNvPr>
          <p:cNvSpPr txBox="1"/>
          <p:nvPr/>
        </p:nvSpPr>
        <p:spPr>
          <a:xfrm>
            <a:off x="8496086" y="977231"/>
            <a:ext cx="369591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b="1" i="0" dirty="0" err="1">
                <a:solidFill>
                  <a:srgbClr val="212121"/>
                </a:solidFill>
                <a:effectLst/>
                <a:latin typeface="Merriweather" panose="00000500000000000000" pitchFamily="2" charset="0"/>
              </a:rPr>
              <a:t>Semaglutide</a:t>
            </a:r>
            <a:r>
              <a:rPr lang="en-US" sz="1400" b="1" i="0" dirty="0">
                <a:solidFill>
                  <a:srgbClr val="212121"/>
                </a:solidFill>
                <a:effectLst/>
                <a:latin typeface="Merriweather" panose="00000500000000000000" pitchFamily="2" charset="0"/>
              </a:rPr>
              <a:t> 2·4 mg once a week </a:t>
            </a:r>
          </a:p>
          <a:p>
            <a:pPr algn="l"/>
            <a:r>
              <a:rPr lang="en-US" sz="1400" b="1" i="0" dirty="0">
                <a:solidFill>
                  <a:srgbClr val="212121"/>
                </a:solidFill>
                <a:effectLst/>
                <a:latin typeface="Merriweather" panose="00000500000000000000" pitchFamily="2" charset="0"/>
              </a:rPr>
              <a:t>in adults with overweight or obesity, </a:t>
            </a:r>
          </a:p>
          <a:p>
            <a:pPr algn="l"/>
            <a:r>
              <a:rPr lang="en-US" sz="1400" b="1" i="0" dirty="0">
                <a:solidFill>
                  <a:srgbClr val="FF0000"/>
                </a:solidFill>
                <a:effectLst/>
                <a:latin typeface="Merriweather" panose="00000500000000000000" pitchFamily="2" charset="0"/>
              </a:rPr>
              <a:t>and type 2 diabetes</a:t>
            </a:r>
            <a:r>
              <a:rPr lang="en-US" sz="1400" b="1" i="0" dirty="0">
                <a:solidFill>
                  <a:srgbClr val="212121"/>
                </a:solidFill>
                <a:effectLst/>
                <a:latin typeface="Merriweather" panose="00000500000000000000" pitchFamily="2" charset="0"/>
              </a:rPr>
              <a:t> (STEP 2): </a:t>
            </a:r>
          </a:p>
          <a:p>
            <a:pPr algn="l"/>
            <a:r>
              <a:rPr lang="en-US" sz="1400" b="1" i="0" dirty="0">
                <a:solidFill>
                  <a:srgbClr val="212121"/>
                </a:solidFill>
                <a:effectLst/>
                <a:latin typeface="Merriweather" panose="00000500000000000000" pitchFamily="2" charset="0"/>
              </a:rPr>
              <a:t>a </a:t>
            </a:r>
            <a:r>
              <a:rPr lang="en-US" sz="1400" b="1" i="0" dirty="0" err="1">
                <a:solidFill>
                  <a:srgbClr val="212121"/>
                </a:solidFill>
                <a:effectLst/>
                <a:latin typeface="Merriweather" panose="00000500000000000000" pitchFamily="2" charset="0"/>
              </a:rPr>
              <a:t>randomised</a:t>
            </a:r>
            <a:r>
              <a:rPr lang="en-US" sz="1400" b="1" i="0" dirty="0">
                <a:solidFill>
                  <a:srgbClr val="212121"/>
                </a:solidFill>
                <a:effectLst/>
                <a:latin typeface="Merriweather" panose="00000500000000000000" pitchFamily="2" charset="0"/>
              </a:rPr>
              <a:t>, double-blind, </a:t>
            </a:r>
          </a:p>
          <a:p>
            <a:pPr algn="l"/>
            <a:r>
              <a:rPr lang="en-US" sz="1400" b="1" i="0" dirty="0">
                <a:solidFill>
                  <a:srgbClr val="212121"/>
                </a:solidFill>
                <a:effectLst/>
                <a:latin typeface="Merriweather" panose="00000500000000000000" pitchFamily="2" charset="0"/>
              </a:rPr>
              <a:t>double-dummy, placebo-controlled, </a:t>
            </a:r>
          </a:p>
          <a:p>
            <a:pPr algn="l"/>
            <a:r>
              <a:rPr lang="en-US" sz="1400" b="1" i="0" dirty="0">
                <a:solidFill>
                  <a:srgbClr val="212121"/>
                </a:solidFill>
                <a:effectLst/>
                <a:latin typeface="Merriweather" panose="00000500000000000000" pitchFamily="2" charset="0"/>
              </a:rPr>
              <a:t>phase 3 trial</a:t>
            </a:r>
          </a:p>
        </p:txBody>
      </p:sp>
      <p:cxnSp>
        <p:nvCxnSpPr>
          <p:cNvPr id="14" name="Connettore 2 13">
            <a:extLst>
              <a:ext uri="{FF2B5EF4-FFF2-40B4-BE49-F238E27FC236}">
                <a16:creationId xmlns:a16="http://schemas.microsoft.com/office/drawing/2014/main" id="{D211025F-9BDE-ADA7-C55F-6ABF15AA87A0}"/>
              </a:ext>
            </a:extLst>
          </p:cNvPr>
          <p:cNvCxnSpPr/>
          <p:nvPr/>
        </p:nvCxnSpPr>
        <p:spPr>
          <a:xfrm>
            <a:off x="4261607" y="1476462"/>
            <a:ext cx="0" cy="106540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B128D7A7-EF27-147E-5381-24E942FC8C8F}"/>
              </a:ext>
            </a:extLst>
          </p:cNvPr>
          <p:cNvSpPr txBox="1"/>
          <p:nvPr/>
        </p:nvSpPr>
        <p:spPr>
          <a:xfrm>
            <a:off x="4110606" y="1098958"/>
            <a:ext cx="4667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8%</a:t>
            </a:r>
            <a:endParaRPr lang="en-US" dirty="0"/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43B69CB7-F99E-6052-501B-21C87594267B}"/>
              </a:ext>
            </a:extLst>
          </p:cNvPr>
          <p:cNvSpPr txBox="1"/>
          <p:nvPr/>
        </p:nvSpPr>
        <p:spPr>
          <a:xfrm>
            <a:off x="1308683" y="219255"/>
            <a:ext cx="30200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1F1F1F"/>
                </a:solidFill>
                <a:effectLst/>
                <a:latin typeface="ElsevierGulliver"/>
              </a:rPr>
              <a:t>in-trial observation period </a:t>
            </a:r>
            <a:endParaRPr lang="en-US" dirty="0"/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FB702ECF-19D0-98A0-9D2B-4DE40C43B2D6}"/>
              </a:ext>
            </a:extLst>
          </p:cNvPr>
          <p:cNvSpPr txBox="1"/>
          <p:nvPr/>
        </p:nvSpPr>
        <p:spPr>
          <a:xfrm>
            <a:off x="4518622" y="219317"/>
            <a:ext cx="36423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1F1F1F"/>
                </a:solidFill>
                <a:latin typeface="ElsevierGulliver"/>
              </a:rPr>
              <a:t>o</a:t>
            </a:r>
            <a:r>
              <a:rPr lang="en-US" b="0" i="0" dirty="0">
                <a:solidFill>
                  <a:srgbClr val="1F1F1F"/>
                </a:solidFill>
                <a:effectLst/>
                <a:latin typeface="ElsevierGulliver"/>
              </a:rPr>
              <a:t>n treatment observation period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42473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33718FC2-B6E5-B17A-FB28-2D43576E90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6248" y="0"/>
            <a:ext cx="8219503" cy="6858000"/>
          </a:xfrm>
          <a:prstGeom prst="rect">
            <a:avLst/>
          </a:prstGeom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0AB4BE33-E0AE-FD47-EC2A-CAF7B761BB35}"/>
              </a:ext>
            </a:extLst>
          </p:cNvPr>
          <p:cNvSpPr txBox="1"/>
          <p:nvPr/>
        </p:nvSpPr>
        <p:spPr>
          <a:xfrm>
            <a:off x="0" y="5774144"/>
            <a:ext cx="283787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b="0" i="0" dirty="0">
                <a:solidFill>
                  <a:srgbClr val="212121"/>
                </a:solidFill>
                <a:effectLst/>
                <a:latin typeface="BlinkMacSystemFont"/>
              </a:rPr>
              <a:t>Lancet Diabetes Endocrinol. </a:t>
            </a:r>
          </a:p>
          <a:p>
            <a:r>
              <a:rPr lang="pt-BR" b="0" i="0" dirty="0">
                <a:solidFill>
                  <a:srgbClr val="212121"/>
                </a:solidFill>
                <a:effectLst/>
                <a:latin typeface="BlinkMacSystemFont"/>
              </a:rPr>
              <a:t>2024 Mar;12(3):162-173.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9690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03BBE5A3-8158-1DE9-3BD3-6AD55CA97A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7255" y="0"/>
            <a:ext cx="7597489" cy="6858000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06DF7C24-C3B2-A9FD-E6B7-4BB40FA042C6}"/>
              </a:ext>
            </a:extLst>
          </p:cNvPr>
          <p:cNvSpPr txBox="1"/>
          <p:nvPr/>
        </p:nvSpPr>
        <p:spPr>
          <a:xfrm>
            <a:off x="0" y="6459464"/>
            <a:ext cx="6096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1" i="0" dirty="0">
                <a:solidFill>
                  <a:srgbClr val="4D4D4D"/>
                </a:solidFill>
                <a:effectLst/>
                <a:latin typeface="OTNEJMScalaSansLF"/>
              </a:rPr>
              <a:t>N </a:t>
            </a:r>
            <a:r>
              <a:rPr lang="en-US" b="1" i="0" dirty="0" err="1">
                <a:solidFill>
                  <a:srgbClr val="4D4D4D"/>
                </a:solidFill>
                <a:effectLst/>
                <a:latin typeface="OTNEJMScalaSansLF"/>
              </a:rPr>
              <a:t>Engl</a:t>
            </a:r>
            <a:r>
              <a:rPr lang="en-US" b="1" i="0" dirty="0">
                <a:solidFill>
                  <a:srgbClr val="4D4D4D"/>
                </a:solidFill>
                <a:effectLst/>
                <a:latin typeface="OTNEJMScalaSansLF"/>
              </a:rPr>
              <a:t> J Med 2023;389:514-526</a:t>
            </a:r>
          </a:p>
          <a:p>
            <a:br>
              <a:rPr lang="en-US" dirty="0"/>
            </a:br>
            <a:endParaRPr lang="en-US" dirty="0"/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DAE8D871-7F70-290A-7902-42739CC29C56}"/>
              </a:ext>
            </a:extLst>
          </p:cNvPr>
          <p:cNvSpPr txBox="1"/>
          <p:nvPr/>
        </p:nvSpPr>
        <p:spPr>
          <a:xfrm>
            <a:off x="10165360" y="352229"/>
            <a:ext cx="17218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1" i="0" dirty="0">
                <a:solidFill>
                  <a:srgbClr val="1A1A1A"/>
                </a:solidFill>
                <a:effectLst/>
                <a:latin typeface="OTNEJMQuadraat"/>
              </a:rPr>
              <a:t>Phase 2 Trial</a:t>
            </a:r>
          </a:p>
        </p:txBody>
      </p:sp>
    </p:spTree>
    <p:extLst>
      <p:ext uri="{BB962C8B-B14F-4D97-AF65-F5344CB8AC3E}">
        <p14:creationId xmlns:p14="http://schemas.microsoft.com/office/powerpoint/2010/main" val="20809886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36F0A3B6-CEBD-4BA8-297B-E89E244375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8417" y="0"/>
            <a:ext cx="5235166" cy="6858000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ADE41E7F-5223-978A-8F7C-6BD0BE2B064E}"/>
              </a:ext>
            </a:extLst>
          </p:cNvPr>
          <p:cNvSpPr txBox="1"/>
          <p:nvPr/>
        </p:nvSpPr>
        <p:spPr>
          <a:xfrm>
            <a:off x="9075811" y="380880"/>
            <a:ext cx="252412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AMG 133  Amgen</a:t>
            </a:r>
          </a:p>
          <a:p>
            <a:r>
              <a:rPr lang="en-US" b="1" dirty="0">
                <a:solidFill>
                  <a:srgbClr val="0070C0"/>
                </a:solidFill>
              </a:rPr>
              <a:t>(</a:t>
            </a:r>
            <a:r>
              <a:rPr lang="en-US" b="1" dirty="0" err="1">
                <a:solidFill>
                  <a:srgbClr val="0070C0"/>
                </a:solidFill>
              </a:rPr>
              <a:t>maridebart</a:t>
            </a:r>
            <a:r>
              <a:rPr lang="en-US" b="1" dirty="0">
                <a:solidFill>
                  <a:srgbClr val="0070C0"/>
                </a:solidFill>
              </a:rPr>
              <a:t> </a:t>
            </a:r>
            <a:r>
              <a:rPr lang="en-US" b="1" dirty="0" err="1">
                <a:solidFill>
                  <a:srgbClr val="0070C0"/>
                </a:solidFill>
              </a:rPr>
              <a:t>cafraglutide</a:t>
            </a:r>
            <a:r>
              <a:rPr lang="en-US" b="1" dirty="0">
                <a:solidFill>
                  <a:srgbClr val="0070C0"/>
                </a:solidFill>
              </a:rPr>
              <a:t>)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CEC268B0-9917-47FB-42C1-DE213827CAD8}"/>
              </a:ext>
            </a:extLst>
          </p:cNvPr>
          <p:cNvSpPr txBox="1"/>
          <p:nvPr/>
        </p:nvSpPr>
        <p:spPr>
          <a:xfrm>
            <a:off x="8990353" y="2333293"/>
            <a:ext cx="297400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immunoglobulin G1-kappa, </a:t>
            </a:r>
          </a:p>
          <a:p>
            <a:r>
              <a:rPr lang="en-US" b="1" dirty="0">
                <a:solidFill>
                  <a:srgbClr val="0070C0"/>
                </a:solidFill>
              </a:rPr>
              <a:t>anti-GIPR (gastric inhibitory </a:t>
            </a:r>
          </a:p>
          <a:p>
            <a:r>
              <a:rPr lang="en-US" b="1" dirty="0">
                <a:solidFill>
                  <a:srgbClr val="0070C0"/>
                </a:solidFill>
              </a:rPr>
              <a:t>polypeptide receptor) </a:t>
            </a:r>
          </a:p>
          <a:p>
            <a:r>
              <a:rPr lang="en-US" b="1" dirty="0">
                <a:solidFill>
                  <a:srgbClr val="0070C0"/>
                </a:solidFill>
              </a:rPr>
              <a:t>monoclonal antibody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BBEF06EC-0CF6-058A-F8AE-1BC15EBED796}"/>
              </a:ext>
            </a:extLst>
          </p:cNvPr>
          <p:cNvSpPr txBox="1"/>
          <p:nvPr/>
        </p:nvSpPr>
        <p:spPr>
          <a:xfrm>
            <a:off x="9075811" y="1495586"/>
            <a:ext cx="609742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is  a dual GIPR antagonist </a:t>
            </a:r>
          </a:p>
          <a:p>
            <a:r>
              <a:rPr lang="en-US" b="1" dirty="0"/>
              <a:t>and GLP-1R agonist 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08F73ED3-0B66-6A69-279B-B892CCB9F431}"/>
              </a:ext>
            </a:extLst>
          </p:cNvPr>
          <p:cNvSpPr txBox="1"/>
          <p:nvPr/>
        </p:nvSpPr>
        <p:spPr>
          <a:xfrm>
            <a:off x="83527" y="6435028"/>
            <a:ext cx="75877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Nat </a:t>
            </a:r>
            <a:r>
              <a:rPr lang="en-US" dirty="0" err="1"/>
              <a:t>Metab</a:t>
            </a:r>
            <a:r>
              <a:rPr lang="en-US" dirty="0"/>
              <a:t>. 2024 Feb 5;6(2):290–303</a:t>
            </a:r>
          </a:p>
        </p:txBody>
      </p:sp>
    </p:spTree>
    <p:extLst>
      <p:ext uri="{BB962C8B-B14F-4D97-AF65-F5344CB8AC3E}">
        <p14:creationId xmlns:p14="http://schemas.microsoft.com/office/powerpoint/2010/main" val="11324718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Main graphic">
            <a:extLst>
              <a:ext uri="{FF2B5EF4-FFF2-40B4-BE49-F238E27FC236}">
                <a16:creationId xmlns:a16="http://schemas.microsoft.com/office/drawing/2014/main" id="{790AD286-D70B-625B-20AA-CA8AC7E9135C}"/>
              </a:ext>
            </a:extLst>
          </p:cNvPr>
          <p:cNvPicPr/>
          <p:nvPr/>
        </p:nvPicPr>
        <p:blipFill>
          <a:blip r:embed="rId2"/>
          <a:stretch/>
        </p:blipFill>
        <p:spPr>
          <a:xfrm>
            <a:off x="2319025" y="133740"/>
            <a:ext cx="7286625" cy="6327360"/>
          </a:xfrm>
          <a:prstGeom prst="rect">
            <a:avLst/>
          </a:prstGeom>
          <a:ln>
            <a:noFill/>
          </a:ln>
        </p:spPr>
      </p:pic>
      <p:sp>
        <p:nvSpPr>
          <p:cNvPr id="4" name="TextShape 2">
            <a:extLst>
              <a:ext uri="{FF2B5EF4-FFF2-40B4-BE49-F238E27FC236}">
                <a16:creationId xmlns:a16="http://schemas.microsoft.com/office/drawing/2014/main" id="{7BEC9344-782E-4BB0-4D68-F12F937493AB}"/>
              </a:ext>
            </a:extLst>
          </p:cNvPr>
          <p:cNvSpPr txBox="1"/>
          <p:nvPr/>
        </p:nvSpPr>
        <p:spPr>
          <a:xfrm>
            <a:off x="952560" y="6477120"/>
            <a:ext cx="8254800" cy="23112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/>
          <a:lstStyle/>
          <a:p>
            <a:r>
              <a:rPr lang="en-US" sz="900" b="0" i="1" strike="noStrike" spc="-1">
                <a:solidFill>
                  <a:srgbClr val="FFFFFF"/>
                </a:solidFill>
                <a:latin typeface="Arial"/>
              </a:rPr>
              <a:t>The Lancet Regional Health – Europe</a:t>
            </a:r>
            <a:r>
              <a:rPr lang="en-US" sz="900" b="0" strike="noStrike" spc="-1">
                <a:solidFill>
                  <a:srgbClr val="FFFFFF"/>
                </a:solidFill>
                <a:latin typeface="Arial"/>
              </a:rPr>
              <a:t> 2024 47DOI: (10.1016/j.lanepe.2024.101100) 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DD59F3E4-6A94-2107-721F-7160A0815254}"/>
              </a:ext>
            </a:extLst>
          </p:cNvPr>
          <p:cNvPicPr/>
          <p:nvPr/>
        </p:nvPicPr>
        <p:blipFill>
          <a:blip r:embed="rId3"/>
          <a:stretch/>
        </p:blipFill>
        <p:spPr>
          <a:xfrm>
            <a:off x="79560" y="6064200"/>
            <a:ext cx="707760" cy="793800"/>
          </a:xfrm>
          <a:prstGeom prst="rect">
            <a:avLst/>
          </a:prstGeom>
          <a:ln>
            <a:noFill/>
          </a:ln>
        </p:spPr>
      </p:pic>
      <p:sp>
        <p:nvSpPr>
          <p:cNvPr id="7" name="TextShape 2">
            <a:extLst>
              <a:ext uri="{FF2B5EF4-FFF2-40B4-BE49-F238E27FC236}">
                <a16:creationId xmlns:a16="http://schemas.microsoft.com/office/drawing/2014/main" id="{8FE32948-70DE-8521-6908-1B3B67BADD7E}"/>
              </a:ext>
            </a:extLst>
          </p:cNvPr>
          <p:cNvSpPr txBox="1"/>
          <p:nvPr/>
        </p:nvSpPr>
        <p:spPr>
          <a:xfrm>
            <a:off x="1104960" y="6629520"/>
            <a:ext cx="8254800" cy="23112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/>
          <a:lstStyle/>
          <a:p>
            <a:r>
              <a:rPr lang="en-US" sz="900" b="0" i="1" strike="noStrike" spc="-1" dirty="0">
                <a:latin typeface="Arial"/>
              </a:rPr>
              <a:t>The Lancet Regional Health – Europe</a:t>
            </a:r>
            <a:r>
              <a:rPr lang="en-US" sz="900" b="0" strike="noStrike" spc="-1" dirty="0">
                <a:latin typeface="Arial"/>
              </a:rPr>
              <a:t> 2024 47DOI: (10.1016/j.lanepe.2024.101100) </a:t>
            </a:r>
          </a:p>
        </p:txBody>
      </p:sp>
    </p:spTree>
    <p:extLst>
      <p:ext uri="{BB962C8B-B14F-4D97-AF65-F5344CB8AC3E}">
        <p14:creationId xmlns:p14="http://schemas.microsoft.com/office/powerpoint/2010/main" val="17513589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27729" y="204638"/>
            <a:ext cx="10896000" cy="1296000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rgbClr val="001965"/>
                </a:solidFill>
              </a:rPr>
              <a:t>There is an unmet need for therapies that reduce </a:t>
            </a:r>
            <a:br>
              <a:rPr lang="en-US" dirty="0">
                <a:solidFill>
                  <a:srgbClr val="001965"/>
                </a:solidFill>
              </a:rPr>
            </a:br>
            <a:r>
              <a:rPr lang="en-US" dirty="0">
                <a:solidFill>
                  <a:srgbClr val="001965"/>
                </a:solidFill>
              </a:rPr>
              <a:t>CV events and support weight management</a:t>
            </a:r>
            <a:endParaRPr lang="en-GB" dirty="0">
              <a:solidFill>
                <a:srgbClr val="001965"/>
              </a:solidFill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CCD5757-EB1F-5615-6E05-599435494C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C356DA-5D09-40F4-9BAD-EA38A3F634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7998" y="6235121"/>
            <a:ext cx="10895999" cy="324000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Conditions included in CVD definition may vary. CHD, coronary heart disease; CV, cardiovascular; CVD, cardiovascular disease.</a:t>
            </a:r>
            <a:br>
              <a:rPr lang="en-US" dirty="0"/>
            </a:br>
            <a:r>
              <a:rPr lang="en-US" dirty="0"/>
              <a:t>1. Roth GA et al. J Am Coll </a:t>
            </a:r>
            <a:r>
              <a:rPr lang="en-US" dirty="0" err="1"/>
              <a:t>Cardiol</a:t>
            </a:r>
            <a:r>
              <a:rPr lang="en-US" dirty="0"/>
              <a:t> 2020;76:2982–3021</a:t>
            </a:r>
            <a:r>
              <a:rPr lang="en-GB" dirty="0"/>
              <a:t>; 2. </a:t>
            </a:r>
            <a:r>
              <a:rPr lang="en-US" dirty="0"/>
              <a:t>WHO. Fact sheet – CVDs. Available at: https://www.who.int/en/news-room/fact-sheets/detail/cardiovascular-diseases-(cvds). Accessed January 2023; 3. </a:t>
            </a:r>
            <a:r>
              <a:rPr lang="en-GB" dirty="0"/>
              <a:t>World Obesity Federation. World obesity atlas 2022. Available at: https://www.worldobesity.org/resources/resource-library/world-obesity-atlas-2022. Accessed March 2023</a:t>
            </a:r>
            <a:r>
              <a:rPr lang="en-US" dirty="0"/>
              <a:t>; 4. World Obesity Federation. World obesity atlas 2022. Available at: </a:t>
            </a:r>
            <a:r>
              <a:rPr lang="en-GB" sz="800" dirty="0"/>
              <a:t>https://www.worldobesity.org/resources/resource-library/world-obesity-atlas-2022</a:t>
            </a:r>
            <a:r>
              <a:rPr lang="en-US" dirty="0">
                <a:solidFill>
                  <a:srgbClr val="001965"/>
                </a:solidFill>
              </a:rPr>
              <a:t>. Accessed January 2023</a:t>
            </a:r>
            <a:r>
              <a:rPr lang="en-US" dirty="0">
                <a:solidFill>
                  <a:schemeClr val="tx1"/>
                </a:solidFill>
              </a:rPr>
              <a:t>; </a:t>
            </a:r>
            <a:r>
              <a:rPr lang="en-US" dirty="0"/>
              <a:t>5. GBD 2015 Obesity Collaborators. N </a:t>
            </a:r>
            <a:r>
              <a:rPr lang="en-US" dirty="0" err="1"/>
              <a:t>Engl</a:t>
            </a:r>
            <a:r>
              <a:rPr lang="en-US" dirty="0"/>
              <a:t> J Med 2017;377:13–27.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A87761C2-E688-4DA4-B6DC-ABD8F3CF2DD9}"/>
              </a:ext>
            </a:extLst>
          </p:cNvPr>
          <p:cNvSpPr/>
          <p:nvPr/>
        </p:nvSpPr>
        <p:spPr>
          <a:xfrm>
            <a:off x="0" y="1609644"/>
            <a:ext cx="12192000" cy="397677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44A782DC-2CA8-43AC-BAC0-51DDE9B9C444}"/>
              </a:ext>
            </a:extLst>
          </p:cNvPr>
          <p:cNvSpPr/>
          <p:nvPr/>
        </p:nvSpPr>
        <p:spPr>
          <a:xfrm>
            <a:off x="4304521" y="1623600"/>
            <a:ext cx="5531704" cy="400158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pic>
        <p:nvPicPr>
          <p:cNvPr id="94" name="Picture 93" descr="A picture containing person&#10;&#10;Description automatically generated">
            <a:extLst>
              <a:ext uri="{FF2B5EF4-FFF2-40B4-BE49-F238E27FC236}">
                <a16:creationId xmlns:a16="http://schemas.microsoft.com/office/drawing/2014/main" id="{47783782-501E-4A0B-AA44-B09A059D3E4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0567" y="2166513"/>
            <a:ext cx="5573221" cy="28184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</p:pic>
      <p:grpSp>
        <p:nvGrpSpPr>
          <p:cNvPr id="95" name="Group 94">
            <a:extLst>
              <a:ext uri="{FF2B5EF4-FFF2-40B4-BE49-F238E27FC236}">
                <a16:creationId xmlns:a16="http://schemas.microsoft.com/office/drawing/2014/main" id="{934AB23D-6F18-4459-8B79-AB6E7FBF6089}"/>
              </a:ext>
            </a:extLst>
          </p:cNvPr>
          <p:cNvGrpSpPr/>
          <p:nvPr/>
        </p:nvGrpSpPr>
        <p:grpSpPr>
          <a:xfrm>
            <a:off x="6375729" y="2253492"/>
            <a:ext cx="2985919" cy="2565537"/>
            <a:chOff x="5744897" y="1658789"/>
            <a:chExt cx="2239439" cy="1924153"/>
          </a:xfrm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D5728712-38A6-4834-BB42-32DE001897D8}"/>
                </a:ext>
              </a:extLst>
            </p:cNvPr>
            <p:cNvSpPr/>
            <p:nvPr/>
          </p:nvSpPr>
          <p:spPr>
            <a:xfrm>
              <a:off x="5896043" y="1658789"/>
              <a:ext cx="1924153" cy="1924153"/>
            </a:xfrm>
            <a:prstGeom prst="ellipse">
              <a:avLst/>
            </a:prstGeom>
            <a:solidFill>
              <a:srgbClr val="FFFFFF">
                <a:alpha val="65000"/>
              </a:srgbClr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/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2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/>
                <a:ea typeface="+mn-ea"/>
                <a:cs typeface="+mn-cs"/>
              </a:endParaRP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9AC2BA13-2E62-4A7E-A1BE-FED9F13502F9}"/>
                </a:ext>
              </a:extLst>
            </p:cNvPr>
            <p:cNvSpPr txBox="1"/>
            <p:nvPr/>
          </p:nvSpPr>
          <p:spPr>
            <a:xfrm>
              <a:off x="5744897" y="1832748"/>
              <a:ext cx="2239439" cy="14850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36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Apis Black" panose="020B0A04010101010104" pitchFamily="34" charset="0"/>
                  <a:cs typeface="Apis Black" panose="020B0A04010101010104" pitchFamily="34" charset="0"/>
                  <a:sym typeface="Symbol" panose="05050102010706020507" pitchFamily="18" charset="2"/>
                </a:rPr>
                <a:t>More than</a:t>
              </a:r>
            </a:p>
            <a:p>
              <a:pPr marL="0" marR="0" lvl="0" indent="0" algn="ctr" defTabSz="9136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5867" b="0" i="0" u="none" strike="noStrike" kern="1200" cap="none" spc="0" normalizeH="0" baseline="0" noProof="0" dirty="0">
                  <a:ln>
                    <a:noFill/>
                  </a:ln>
                  <a:solidFill>
                    <a:srgbClr val="005AD2"/>
                  </a:solidFill>
                  <a:effectLst/>
                  <a:uLnTx/>
                  <a:uFillTx/>
                  <a:latin typeface="Apis For Office"/>
                  <a:ea typeface="Apis Black" panose="020B0A04010101010104" pitchFamily="34" charset="0"/>
                  <a:cs typeface="Apis Black" panose="020B0A04010101010104" pitchFamily="34" charset="0"/>
                </a:rPr>
                <a:t>764</a:t>
              </a:r>
              <a:br>
                <a:rPr kumimoji="0" lang="en-GB" sz="5333" b="1" i="0" u="none" strike="noStrike" kern="1200" cap="none" spc="0" normalizeH="0" baseline="0" noProof="0" dirty="0">
                  <a:ln>
                    <a:noFill/>
                  </a:ln>
                  <a:solidFill>
                    <a:srgbClr val="009FDA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</a:b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million people estimated </a:t>
              </a:r>
              <a:b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</a:b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to live with </a:t>
              </a: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5AD2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obesity</a:t>
              </a: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5AD2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 </a:t>
              </a:r>
              <a:b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5AD2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</a:b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as of 2020</a:t>
              </a:r>
              <a:r>
                <a:rPr kumimoji="0" lang="en-GB" sz="16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3</a:t>
              </a:r>
            </a:p>
          </p:txBody>
        </p:sp>
      </p:grpSp>
      <p:sp>
        <p:nvSpPr>
          <p:cNvPr id="98" name="Oval 97">
            <a:extLst>
              <a:ext uri="{FF2B5EF4-FFF2-40B4-BE49-F238E27FC236}">
                <a16:creationId xmlns:a16="http://schemas.microsoft.com/office/drawing/2014/main" id="{3D9C1226-742B-4785-BAA8-10DE4122AA21}"/>
              </a:ext>
            </a:extLst>
          </p:cNvPr>
          <p:cNvSpPr/>
          <p:nvPr/>
        </p:nvSpPr>
        <p:spPr>
          <a:xfrm>
            <a:off x="406062" y="1733787"/>
            <a:ext cx="1716048" cy="171765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67" b="1" i="0" u="none" strike="noStrike" kern="1200" cap="none" spc="0" normalizeH="0" baseline="0" noProof="0">
                <a:ln>
                  <a:noFill/>
                </a:ln>
                <a:solidFill>
                  <a:srgbClr val="005AD2"/>
                </a:solidFill>
                <a:effectLst/>
                <a:uLnTx/>
                <a:uFillTx/>
                <a:latin typeface="Apis For Office"/>
                <a:ea typeface="Apis Black" panose="020B0A04010101010104" pitchFamily="34" charset="0"/>
                <a:cs typeface="Apis Black" panose="020B0A04010101010104" pitchFamily="34" charset="0"/>
              </a:rPr>
              <a:t>523</a:t>
            </a:r>
            <a:r>
              <a:rPr kumimoji="0" lang="en-GB" sz="2133" b="1" i="0" u="none" strike="noStrike" kern="1200" cap="none" spc="0" normalizeH="0" baseline="0" noProof="0">
                <a:ln>
                  <a:noFill/>
                </a:ln>
                <a:solidFill>
                  <a:srgbClr val="009FDA"/>
                </a:solidFill>
                <a:effectLst/>
                <a:uLnTx/>
                <a:uFillTx/>
                <a:latin typeface="Apis For Office"/>
                <a:ea typeface="Apis Black" panose="020B0A04010101010104" pitchFamily="34" charset="0"/>
                <a:cs typeface="Apis Black" panose="020B0A04010101010104" pitchFamily="34" charset="0"/>
              </a:rPr>
              <a:t> </a:t>
            </a:r>
          </a:p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67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million people had </a:t>
            </a:r>
            <a:r>
              <a:rPr kumimoji="0" lang="en-GB" sz="1467" b="1" i="0" u="none" strike="noStrike" kern="1200" cap="none" spc="0" normalizeH="0" baseline="0" noProof="0">
                <a:ln>
                  <a:noFill/>
                </a:ln>
                <a:solidFill>
                  <a:srgbClr val="005AD2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CVD</a:t>
            </a:r>
            <a:r>
              <a:rPr kumimoji="0" lang="en-GB" sz="1467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 in 2019 (globally)</a:t>
            </a:r>
            <a:r>
              <a:rPr kumimoji="0" lang="en-GB" sz="1467" b="0" i="0" u="none" strike="noStrike" kern="1200" cap="none" spc="0" normalizeH="0" baseline="3000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1</a:t>
            </a:r>
            <a:endParaRPr kumimoji="0" lang="en-GB" sz="1600" b="0" i="0" u="none" strike="noStrike" kern="1200" cap="none" spc="0" normalizeH="0" baseline="3000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pis For Office"/>
              <a:ea typeface="+mn-ea"/>
              <a:cs typeface="Arial" charset="0"/>
            </a:endParaRP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580D471D-CEF9-4203-B516-A3FC6BE1C9CB}"/>
              </a:ext>
            </a:extLst>
          </p:cNvPr>
          <p:cNvSpPr/>
          <p:nvPr/>
        </p:nvSpPr>
        <p:spPr>
          <a:xfrm>
            <a:off x="1044610" y="3398329"/>
            <a:ext cx="1716048" cy="171765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67" b="1" i="0" u="none" strike="noStrike" kern="1200" cap="none" spc="0" normalizeH="0" baseline="0" noProof="0">
                <a:ln>
                  <a:noFill/>
                </a:ln>
                <a:solidFill>
                  <a:srgbClr val="005AD2"/>
                </a:solidFill>
                <a:effectLst/>
                <a:uLnTx/>
                <a:uFillTx/>
                <a:latin typeface="Apis For Office"/>
                <a:ea typeface="Apis Black" panose="020B0A04010101010104" pitchFamily="34" charset="0"/>
                <a:cs typeface="Apis Black" panose="020B0A04010101010104" pitchFamily="34" charset="0"/>
              </a:rPr>
              <a:t>32</a:t>
            </a:r>
            <a:r>
              <a:rPr kumimoji="0" lang="en-GB" sz="2667" b="0" i="0" u="none" strike="noStrike" kern="1200" cap="none" spc="0" normalizeH="0" baseline="0" noProof="0">
                <a:ln>
                  <a:noFill/>
                </a:ln>
                <a:solidFill>
                  <a:srgbClr val="005AD2"/>
                </a:solidFill>
                <a:effectLst/>
                <a:uLnTx/>
                <a:uFillTx/>
                <a:latin typeface="Apis For Office"/>
                <a:ea typeface="Apis Black" panose="020B0A04010101010104" pitchFamily="34" charset="0"/>
                <a:cs typeface="Apis Black" panose="020B0A04010101010104" pitchFamily="34" charset="0"/>
              </a:rPr>
              <a:t>%</a:t>
            </a:r>
          </a:p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67" b="1" i="0" u="none" strike="noStrike" kern="1200" cap="none" spc="0" normalizeH="0" baseline="0" noProof="0">
                <a:ln>
                  <a:noFill/>
                </a:ln>
                <a:solidFill>
                  <a:srgbClr val="009FDA"/>
                </a:solidFill>
                <a:effectLst/>
                <a:uLnTx/>
                <a:uFillTx/>
                <a:latin typeface="Apis For Office"/>
                <a:ea typeface="Apis Black" panose="020B0A04010101010104" pitchFamily="34" charset="0"/>
                <a:cs typeface="Apis Black" panose="020B0A04010101010104" pitchFamily="34" charset="0"/>
              </a:rPr>
              <a:t> </a:t>
            </a:r>
            <a:r>
              <a: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of all global </a:t>
            </a:r>
            <a:r>
              <a:rPr kumimoji="0" lang="en-US" sz="1467" b="1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deaths</a:t>
            </a:r>
            <a:r>
              <a: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 are from </a:t>
            </a:r>
            <a:r>
              <a:rPr kumimoji="0" lang="en-US" sz="1467" b="1" i="0" u="none" strike="noStrike" kern="1200" cap="none" spc="0" normalizeH="0" baseline="0" noProof="0">
                <a:ln>
                  <a:noFill/>
                </a:ln>
                <a:solidFill>
                  <a:srgbClr val="005AD2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CVD</a:t>
            </a:r>
            <a:r>
              <a:rPr kumimoji="0" lang="en-US" sz="1467" b="0" i="0" u="none" strike="noStrike" kern="1200" cap="none" spc="0" normalizeH="0" baseline="3000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2</a:t>
            </a:r>
            <a:endParaRPr kumimoji="0" lang="en-GB" sz="1400" b="0" i="0" u="none" strike="noStrike" kern="1200" cap="none" spc="0" normalizeH="0" baseline="3000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pis For Office"/>
              <a:ea typeface="+mn-ea"/>
              <a:cs typeface="Arial" charset="0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6515A8E0-7F48-45EB-99BA-814E7DBBDA92}"/>
              </a:ext>
            </a:extLst>
          </p:cNvPr>
          <p:cNvSpPr/>
          <p:nvPr/>
        </p:nvSpPr>
        <p:spPr>
          <a:xfrm>
            <a:off x="2206582" y="1996133"/>
            <a:ext cx="1716048" cy="171765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67" b="1" i="0" u="none" strike="noStrike" kern="1200" cap="none" spc="0" normalizeH="0" baseline="0" noProof="0">
                <a:ln>
                  <a:noFill/>
                </a:ln>
                <a:solidFill>
                  <a:srgbClr val="005AD2"/>
                </a:solidFill>
                <a:effectLst/>
                <a:uLnTx/>
                <a:uFillTx/>
                <a:latin typeface="Apis For Office"/>
                <a:ea typeface="Apis Black" panose="020B0A04010101010104" pitchFamily="34" charset="0"/>
                <a:cs typeface="Apis Black" panose="020B0A04010101010104" pitchFamily="34" charset="0"/>
              </a:rPr>
              <a:t>49</a:t>
            </a:r>
            <a:r>
              <a:rPr kumimoji="0" lang="en-GB" sz="2667" b="0" i="0" u="none" strike="noStrike" kern="1200" cap="none" spc="0" normalizeH="0" baseline="0" noProof="0">
                <a:ln>
                  <a:noFill/>
                </a:ln>
                <a:solidFill>
                  <a:srgbClr val="005AD2"/>
                </a:solidFill>
                <a:effectLst/>
                <a:uLnTx/>
                <a:uFillTx/>
                <a:latin typeface="Apis For Office"/>
                <a:ea typeface="Apis Black" panose="020B0A04010101010104" pitchFamily="34" charset="0"/>
                <a:cs typeface="Apis Black" panose="020B0A04010101010104" pitchFamily="34" charset="0"/>
              </a:rPr>
              <a:t>%</a:t>
            </a:r>
          </a:p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of global </a:t>
            </a:r>
            <a:r>
              <a:rPr kumimoji="0" lang="en-US" sz="1467" b="1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CV deaths</a:t>
            </a:r>
            <a:r>
              <a: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 are due to </a:t>
            </a:r>
            <a:r>
              <a:rPr kumimoji="0" lang="en-US" sz="1467" b="1" i="0" u="none" strike="noStrike" kern="1200" cap="none" spc="0" normalizeH="0" baseline="0" noProof="0">
                <a:ln>
                  <a:noFill/>
                </a:ln>
                <a:solidFill>
                  <a:srgbClr val="005AD2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CHD</a:t>
            </a:r>
            <a:r>
              <a:rPr kumimoji="0" lang="en-US" sz="1467" b="0" i="0" u="none" strike="noStrike" kern="1200" cap="none" spc="0" normalizeH="0" baseline="3000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is For Office"/>
                <a:ea typeface="+mn-ea"/>
                <a:cs typeface="Arial" charset="0"/>
              </a:rPr>
              <a:t>1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30AC840D-DBF4-4C51-AA80-AD0C10D168D0}"/>
              </a:ext>
            </a:extLst>
          </p:cNvPr>
          <p:cNvSpPr txBox="1"/>
          <p:nvPr/>
        </p:nvSpPr>
        <p:spPr>
          <a:xfrm>
            <a:off x="0" y="5265495"/>
            <a:ext cx="12192000" cy="546755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>
              <a:defRPr>
                <a:solidFill>
                  <a:schemeClr val="lt1"/>
                </a:solidFill>
              </a:defRPr>
            </a:lvl1pPr>
            <a:lvl2pPr marL="353474" lvl="1" algn="ctr">
              <a:spcBef>
                <a:spcPts val="800"/>
              </a:spcBef>
              <a:defRPr sz="1600"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Effective interventions that lower CV events &amp; death in this population are greatly needed!</a:t>
            </a:r>
            <a:r>
              <a:rPr kumimoji="0" lang="en-CA" sz="1800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5</a:t>
            </a:r>
          </a:p>
        </p:txBody>
      </p:sp>
      <p:sp>
        <p:nvSpPr>
          <p:cNvPr id="4" name="Heart CVD Icon">
            <a:extLst>
              <a:ext uri="{FF2B5EF4-FFF2-40B4-BE49-F238E27FC236}">
                <a16:creationId xmlns:a16="http://schemas.microsoft.com/office/drawing/2014/main" id="{BAFF15C2-439F-9EE3-45E2-15BDFB29D701}"/>
              </a:ext>
            </a:extLst>
          </p:cNvPr>
          <p:cNvSpPr/>
          <p:nvPr/>
        </p:nvSpPr>
        <p:spPr>
          <a:xfrm>
            <a:off x="3405572" y="3761352"/>
            <a:ext cx="669750" cy="787770"/>
          </a:xfrm>
          <a:custGeom>
            <a:avLst/>
            <a:gdLst>
              <a:gd name="connsiteX0" fmla="*/ 85792 w 351099"/>
              <a:gd name="connsiteY0" fmla="*/ 31454 h 412969"/>
              <a:gd name="connsiteX1" fmla="*/ 89326 w 351099"/>
              <a:gd name="connsiteY1" fmla="*/ 18452 h 412969"/>
              <a:gd name="connsiteX2" fmla="*/ 89411 w 351099"/>
              <a:gd name="connsiteY2" fmla="*/ 18405 h 412969"/>
              <a:gd name="connsiteX3" fmla="*/ 102365 w 351099"/>
              <a:gd name="connsiteY3" fmla="*/ 22024 h 412969"/>
              <a:gd name="connsiteX4" fmla="*/ 125035 w 351099"/>
              <a:gd name="connsiteY4" fmla="*/ 61839 h 412969"/>
              <a:gd name="connsiteX5" fmla="*/ 155991 w 351099"/>
              <a:gd name="connsiteY5" fmla="*/ 72030 h 412969"/>
              <a:gd name="connsiteX6" fmla="*/ 165516 w 351099"/>
              <a:gd name="connsiteY6" fmla="*/ 52980 h 412969"/>
              <a:gd name="connsiteX7" fmla="*/ 152086 w 351099"/>
              <a:gd name="connsiteY7" fmla="*/ 12499 h 412969"/>
              <a:gd name="connsiteX8" fmla="*/ 158134 w 351099"/>
              <a:gd name="connsiteY8" fmla="*/ 450 h 412969"/>
              <a:gd name="connsiteX9" fmla="*/ 170183 w 351099"/>
              <a:gd name="connsiteY9" fmla="*/ 6498 h 412969"/>
              <a:gd name="connsiteX10" fmla="*/ 186090 w 351099"/>
              <a:gd name="connsiteY10" fmla="*/ 54123 h 412969"/>
              <a:gd name="connsiteX11" fmla="*/ 165707 w 351099"/>
              <a:gd name="connsiteY11" fmla="*/ 95557 h 412969"/>
              <a:gd name="connsiteX12" fmla="*/ 112081 w 351099"/>
              <a:gd name="connsiteY12" fmla="*/ 77936 h 412969"/>
              <a:gd name="connsiteX13" fmla="*/ 289341 w 351099"/>
              <a:gd name="connsiteY13" fmla="*/ 136896 h 412969"/>
              <a:gd name="connsiteX14" fmla="*/ 314487 w 351099"/>
              <a:gd name="connsiteY14" fmla="*/ 158232 h 412969"/>
              <a:gd name="connsiteX15" fmla="*/ 322202 w 351099"/>
              <a:gd name="connsiteY15" fmla="*/ 162232 h 412969"/>
              <a:gd name="connsiteX16" fmla="*/ 327727 w 351099"/>
              <a:gd name="connsiteY16" fmla="*/ 160518 h 412969"/>
              <a:gd name="connsiteX17" fmla="*/ 330061 w 351099"/>
              <a:gd name="connsiteY17" fmla="*/ 147249 h 412969"/>
              <a:gd name="connsiteX18" fmla="*/ 330013 w 351099"/>
              <a:gd name="connsiteY18" fmla="*/ 147183 h 412969"/>
              <a:gd name="connsiteX19" fmla="*/ 297628 w 351099"/>
              <a:gd name="connsiteY19" fmla="*/ 119846 h 412969"/>
              <a:gd name="connsiteX20" fmla="*/ 285398 w 351099"/>
              <a:gd name="connsiteY20" fmla="*/ 125485 h 412969"/>
              <a:gd name="connsiteX21" fmla="*/ 289341 w 351099"/>
              <a:gd name="connsiteY21" fmla="*/ 136896 h 412969"/>
              <a:gd name="connsiteX22" fmla="*/ 328013 w 351099"/>
              <a:gd name="connsiteY22" fmla="*/ 189664 h 412969"/>
              <a:gd name="connsiteX23" fmla="*/ 332013 w 351099"/>
              <a:gd name="connsiteY23" fmla="*/ 225288 h 412969"/>
              <a:gd name="connsiteX24" fmla="*/ 341538 w 351099"/>
              <a:gd name="connsiteY24" fmla="*/ 234813 h 412969"/>
              <a:gd name="connsiteX25" fmla="*/ 341538 w 351099"/>
              <a:gd name="connsiteY25" fmla="*/ 234813 h 412969"/>
              <a:gd name="connsiteX26" fmla="*/ 351063 w 351099"/>
              <a:gd name="connsiteY26" fmla="*/ 225288 h 412969"/>
              <a:gd name="connsiteX27" fmla="*/ 346586 w 351099"/>
              <a:gd name="connsiteY27" fmla="*/ 185378 h 412969"/>
              <a:gd name="connsiteX28" fmla="*/ 334871 w 351099"/>
              <a:gd name="connsiteY28" fmla="*/ 178044 h 412969"/>
              <a:gd name="connsiteX29" fmla="*/ 327536 w 351099"/>
              <a:gd name="connsiteY29" fmla="*/ 189760 h 412969"/>
              <a:gd name="connsiteX30" fmla="*/ 340300 w 351099"/>
              <a:gd name="connsiteY30" fmla="*/ 253767 h 412969"/>
              <a:gd name="connsiteX31" fmla="*/ 329641 w 351099"/>
              <a:gd name="connsiteY31" fmla="*/ 261997 h 412969"/>
              <a:gd name="connsiteX32" fmla="*/ 329632 w 351099"/>
              <a:gd name="connsiteY32" fmla="*/ 262054 h 412969"/>
              <a:gd name="connsiteX33" fmla="*/ 322869 w 351099"/>
              <a:gd name="connsiteY33" fmla="*/ 298535 h 412969"/>
              <a:gd name="connsiteX34" fmla="*/ 329889 w 351099"/>
              <a:gd name="connsiteY34" fmla="*/ 310032 h 412969"/>
              <a:gd name="connsiteX35" fmla="*/ 330013 w 351099"/>
              <a:gd name="connsiteY35" fmla="*/ 310060 h 412969"/>
              <a:gd name="connsiteX36" fmla="*/ 332204 w 351099"/>
              <a:gd name="connsiteY36" fmla="*/ 310060 h 412969"/>
              <a:gd name="connsiteX37" fmla="*/ 341729 w 351099"/>
              <a:gd name="connsiteY37" fmla="*/ 302726 h 412969"/>
              <a:gd name="connsiteX38" fmla="*/ 348777 w 351099"/>
              <a:gd name="connsiteY38" fmla="*/ 264626 h 412969"/>
              <a:gd name="connsiteX39" fmla="*/ 340738 w 351099"/>
              <a:gd name="connsiteY39" fmla="*/ 253825 h 412969"/>
              <a:gd name="connsiteX40" fmla="*/ 340300 w 351099"/>
              <a:gd name="connsiteY40" fmla="*/ 253767 h 412969"/>
              <a:gd name="connsiteX41" fmla="*/ 324488 w 351099"/>
              <a:gd name="connsiteY41" fmla="*/ 328348 h 412969"/>
              <a:gd name="connsiteX42" fmla="*/ 312677 w 351099"/>
              <a:gd name="connsiteY42" fmla="*/ 334730 h 412969"/>
              <a:gd name="connsiteX43" fmla="*/ 297152 w 351099"/>
              <a:gd name="connsiteY43" fmla="*/ 365591 h 412969"/>
              <a:gd name="connsiteX44" fmla="*/ 297152 w 351099"/>
              <a:gd name="connsiteY44" fmla="*/ 365591 h 412969"/>
              <a:gd name="connsiteX45" fmla="*/ 238763 w 351099"/>
              <a:gd name="connsiteY45" fmla="*/ 394166 h 412969"/>
              <a:gd name="connsiteX46" fmla="*/ 72933 w 351099"/>
              <a:gd name="connsiteY46" fmla="*/ 273008 h 412969"/>
              <a:gd name="connsiteX47" fmla="*/ 64456 w 351099"/>
              <a:gd name="connsiteY47" fmla="*/ 168233 h 412969"/>
              <a:gd name="connsiteX48" fmla="*/ 151991 w 351099"/>
              <a:gd name="connsiteY48" fmla="*/ 139658 h 412969"/>
              <a:gd name="connsiteX49" fmla="*/ 171041 w 351099"/>
              <a:gd name="connsiteY49" fmla="*/ 144992 h 412969"/>
              <a:gd name="connsiteX50" fmla="*/ 175422 w 351099"/>
              <a:gd name="connsiteY50" fmla="*/ 144992 h 412969"/>
              <a:gd name="connsiteX51" fmla="*/ 177994 w 351099"/>
              <a:gd name="connsiteY51" fmla="*/ 141563 h 412969"/>
              <a:gd name="connsiteX52" fmla="*/ 199901 w 351099"/>
              <a:gd name="connsiteY52" fmla="*/ 102129 h 412969"/>
              <a:gd name="connsiteX53" fmla="*/ 250860 w 351099"/>
              <a:gd name="connsiteY53" fmla="*/ 22977 h 412969"/>
              <a:gd name="connsiteX54" fmla="*/ 262671 w 351099"/>
              <a:gd name="connsiteY54" fmla="*/ 32502 h 412969"/>
              <a:gd name="connsiteX55" fmla="*/ 252384 w 351099"/>
              <a:gd name="connsiteY55" fmla="*/ 44313 h 412969"/>
              <a:gd name="connsiteX56" fmla="*/ 230953 w 351099"/>
              <a:gd name="connsiteY56" fmla="*/ 109178 h 412969"/>
              <a:gd name="connsiteX57" fmla="*/ 230953 w 351099"/>
              <a:gd name="connsiteY57" fmla="*/ 110702 h 412969"/>
              <a:gd name="connsiteX58" fmla="*/ 235239 w 351099"/>
              <a:gd name="connsiteY58" fmla="*/ 158327 h 412969"/>
              <a:gd name="connsiteX59" fmla="*/ 235239 w 351099"/>
              <a:gd name="connsiteY59" fmla="*/ 158327 h 412969"/>
              <a:gd name="connsiteX60" fmla="*/ 230762 w 351099"/>
              <a:gd name="connsiteY60" fmla="*/ 188236 h 412969"/>
              <a:gd name="connsiteX61" fmla="*/ 237620 w 351099"/>
              <a:gd name="connsiteY61" fmla="*/ 199827 h 412969"/>
              <a:gd name="connsiteX62" fmla="*/ 237716 w 351099"/>
              <a:gd name="connsiteY62" fmla="*/ 199856 h 412969"/>
              <a:gd name="connsiteX63" fmla="*/ 240002 w 351099"/>
              <a:gd name="connsiteY63" fmla="*/ 199856 h 412969"/>
              <a:gd name="connsiteX64" fmla="*/ 249527 w 351099"/>
              <a:gd name="connsiteY64" fmla="*/ 192617 h 412969"/>
              <a:gd name="connsiteX65" fmla="*/ 254575 w 351099"/>
              <a:gd name="connsiteY65" fmla="*/ 158994 h 412969"/>
              <a:gd name="connsiteX66" fmla="*/ 254575 w 351099"/>
              <a:gd name="connsiteY66" fmla="*/ 158994 h 412969"/>
              <a:gd name="connsiteX67" fmla="*/ 253908 w 351099"/>
              <a:gd name="connsiteY67" fmla="*/ 130419 h 412969"/>
              <a:gd name="connsiteX68" fmla="*/ 256861 w 351099"/>
              <a:gd name="connsiteY68" fmla="*/ 130419 h 412969"/>
              <a:gd name="connsiteX69" fmla="*/ 265814 w 351099"/>
              <a:gd name="connsiteY69" fmla="*/ 120322 h 412969"/>
              <a:gd name="connsiteX70" fmla="*/ 255718 w 351099"/>
              <a:gd name="connsiteY70" fmla="*/ 111369 h 412969"/>
              <a:gd name="connsiteX71" fmla="*/ 251146 w 351099"/>
              <a:gd name="connsiteY71" fmla="*/ 111369 h 412969"/>
              <a:gd name="connsiteX72" fmla="*/ 250003 w 351099"/>
              <a:gd name="connsiteY72" fmla="*/ 105844 h 412969"/>
              <a:gd name="connsiteX73" fmla="*/ 266862 w 351099"/>
              <a:gd name="connsiteY73" fmla="*/ 55552 h 412969"/>
              <a:gd name="connsiteX74" fmla="*/ 280292 w 351099"/>
              <a:gd name="connsiteY74" fmla="*/ 40027 h 412969"/>
              <a:gd name="connsiteX75" fmla="*/ 278854 w 351099"/>
              <a:gd name="connsiteY75" fmla="*/ 19871 h 412969"/>
              <a:gd name="connsiteX76" fmla="*/ 278578 w 351099"/>
              <a:gd name="connsiteY76" fmla="*/ 19643 h 412969"/>
              <a:gd name="connsiteX77" fmla="*/ 259528 w 351099"/>
              <a:gd name="connsiteY77" fmla="*/ 3831 h 412969"/>
              <a:gd name="connsiteX78" fmla="*/ 239525 w 351099"/>
              <a:gd name="connsiteY78" fmla="*/ 5451 h 412969"/>
              <a:gd name="connsiteX79" fmla="*/ 182375 w 351099"/>
              <a:gd name="connsiteY79" fmla="*/ 94128 h 412969"/>
              <a:gd name="connsiteX80" fmla="*/ 166564 w 351099"/>
              <a:gd name="connsiteY80" fmla="*/ 123846 h 412969"/>
              <a:gd name="connsiteX81" fmla="*/ 159325 w 351099"/>
              <a:gd name="connsiteY81" fmla="*/ 120989 h 412969"/>
              <a:gd name="connsiteX82" fmla="*/ 47311 w 351099"/>
              <a:gd name="connsiteY82" fmla="*/ 159089 h 412969"/>
              <a:gd name="connsiteX83" fmla="*/ 56360 w 351099"/>
              <a:gd name="connsiteY83" fmla="*/ 282342 h 412969"/>
              <a:gd name="connsiteX84" fmla="*/ 237335 w 351099"/>
              <a:gd name="connsiteY84" fmla="*/ 412930 h 412969"/>
              <a:gd name="connsiteX85" fmla="*/ 241907 w 351099"/>
              <a:gd name="connsiteY85" fmla="*/ 412930 h 412969"/>
              <a:gd name="connsiteX86" fmla="*/ 311915 w 351099"/>
              <a:gd name="connsiteY86" fmla="*/ 376830 h 412969"/>
              <a:gd name="connsiteX87" fmla="*/ 311915 w 351099"/>
              <a:gd name="connsiteY87" fmla="*/ 376830 h 412969"/>
              <a:gd name="connsiteX88" fmla="*/ 330489 w 351099"/>
              <a:gd name="connsiteY88" fmla="*/ 339969 h 412969"/>
              <a:gd name="connsiteX89" fmla="*/ 324488 w 351099"/>
              <a:gd name="connsiteY89" fmla="*/ 328348 h 412969"/>
              <a:gd name="connsiteX90" fmla="*/ 231239 w 351099"/>
              <a:gd name="connsiteY90" fmla="*/ 217191 h 412969"/>
              <a:gd name="connsiteX91" fmla="*/ 218285 w 351099"/>
              <a:gd name="connsiteY91" fmla="*/ 220897 h 412969"/>
              <a:gd name="connsiteX92" fmla="*/ 218285 w 351099"/>
              <a:gd name="connsiteY92" fmla="*/ 220906 h 412969"/>
              <a:gd name="connsiteX93" fmla="*/ 197330 w 351099"/>
              <a:gd name="connsiteY93" fmla="*/ 249481 h 412969"/>
              <a:gd name="connsiteX94" fmla="*/ 197758 w 351099"/>
              <a:gd name="connsiteY94" fmla="*/ 262959 h 412969"/>
              <a:gd name="connsiteX95" fmla="*/ 211236 w 351099"/>
              <a:gd name="connsiteY95" fmla="*/ 262530 h 412969"/>
              <a:gd name="connsiteX96" fmla="*/ 234953 w 351099"/>
              <a:gd name="connsiteY96" fmla="*/ 229860 h 412969"/>
              <a:gd name="connsiteX97" fmla="*/ 231239 w 351099"/>
              <a:gd name="connsiteY97" fmla="*/ 217191 h 412969"/>
              <a:gd name="connsiteX98" fmla="*/ 89411 w 351099"/>
              <a:gd name="connsiteY98" fmla="*/ 101748 h 412969"/>
              <a:gd name="connsiteX99" fmla="*/ 97317 w 351099"/>
              <a:gd name="connsiteY99" fmla="*/ 105939 h 412969"/>
              <a:gd name="connsiteX100" fmla="*/ 102651 w 351099"/>
              <a:gd name="connsiteY100" fmla="*/ 104320 h 412969"/>
              <a:gd name="connsiteX101" fmla="*/ 105128 w 351099"/>
              <a:gd name="connsiteY101" fmla="*/ 91080 h 412969"/>
              <a:gd name="connsiteX102" fmla="*/ 76553 w 351099"/>
              <a:gd name="connsiteY102" fmla="*/ 48408 h 412969"/>
              <a:gd name="connsiteX103" fmla="*/ 8163 w 351099"/>
              <a:gd name="connsiteY103" fmla="*/ 62791 h 412969"/>
              <a:gd name="connsiteX104" fmla="*/ 57 w 351099"/>
              <a:gd name="connsiteY104" fmla="*/ 73545 h 412969"/>
              <a:gd name="connsiteX105" fmla="*/ 10811 w 351099"/>
              <a:gd name="connsiteY105" fmla="*/ 81660 h 412969"/>
              <a:gd name="connsiteX106" fmla="*/ 12164 w 351099"/>
              <a:gd name="connsiteY106" fmla="*/ 81365 h 412969"/>
              <a:gd name="connsiteX107" fmla="*/ 67980 w 351099"/>
              <a:gd name="connsiteY107" fmla="*/ 69649 h 412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51099" h="412969">
                <a:moveTo>
                  <a:pt x="85792" y="31454"/>
                </a:moveTo>
                <a:cubicBezTo>
                  <a:pt x="83182" y="26891"/>
                  <a:pt x="84754" y="21072"/>
                  <a:pt x="89326" y="18452"/>
                </a:cubicBezTo>
                <a:cubicBezTo>
                  <a:pt x="89354" y="18433"/>
                  <a:pt x="89383" y="18424"/>
                  <a:pt x="89411" y="18405"/>
                </a:cubicBezTo>
                <a:cubicBezTo>
                  <a:pt x="93993" y="15833"/>
                  <a:pt x="99784" y="17452"/>
                  <a:pt x="102365" y="22024"/>
                </a:cubicBezTo>
                <a:lnTo>
                  <a:pt x="125035" y="61839"/>
                </a:lnTo>
                <a:lnTo>
                  <a:pt x="155991" y="72030"/>
                </a:lnTo>
                <a:lnTo>
                  <a:pt x="165516" y="52980"/>
                </a:lnTo>
                <a:lnTo>
                  <a:pt x="152086" y="12499"/>
                </a:lnTo>
                <a:cubicBezTo>
                  <a:pt x="150429" y="7499"/>
                  <a:pt x="153134" y="2107"/>
                  <a:pt x="158134" y="450"/>
                </a:cubicBezTo>
                <a:cubicBezTo>
                  <a:pt x="163135" y="-1207"/>
                  <a:pt x="168526" y="1498"/>
                  <a:pt x="170183" y="6498"/>
                </a:cubicBezTo>
                <a:lnTo>
                  <a:pt x="186090" y="54123"/>
                </a:lnTo>
                <a:lnTo>
                  <a:pt x="165707" y="95557"/>
                </a:lnTo>
                <a:lnTo>
                  <a:pt x="112081" y="77936"/>
                </a:lnTo>
                <a:close/>
                <a:moveTo>
                  <a:pt x="289341" y="136896"/>
                </a:moveTo>
                <a:cubicBezTo>
                  <a:pt x="299380" y="141792"/>
                  <a:pt x="308020" y="149126"/>
                  <a:pt x="314487" y="158232"/>
                </a:cubicBezTo>
                <a:cubicBezTo>
                  <a:pt x="316268" y="160727"/>
                  <a:pt x="319135" y="162223"/>
                  <a:pt x="322202" y="162232"/>
                </a:cubicBezTo>
                <a:cubicBezTo>
                  <a:pt x="324174" y="162251"/>
                  <a:pt x="326108" y="161651"/>
                  <a:pt x="327727" y="160518"/>
                </a:cubicBezTo>
                <a:cubicBezTo>
                  <a:pt x="332032" y="157498"/>
                  <a:pt x="333080" y="151555"/>
                  <a:pt x="330061" y="147249"/>
                </a:cubicBezTo>
                <a:cubicBezTo>
                  <a:pt x="330042" y="147230"/>
                  <a:pt x="330032" y="147202"/>
                  <a:pt x="330013" y="147183"/>
                </a:cubicBezTo>
                <a:cubicBezTo>
                  <a:pt x="321726" y="135457"/>
                  <a:pt x="310572" y="126056"/>
                  <a:pt x="297628" y="119846"/>
                </a:cubicBezTo>
                <a:cubicBezTo>
                  <a:pt x="292694" y="118027"/>
                  <a:pt x="287217" y="120551"/>
                  <a:pt x="285398" y="125485"/>
                </a:cubicBezTo>
                <a:cubicBezTo>
                  <a:pt x="283826" y="129742"/>
                  <a:pt x="285474" y="134514"/>
                  <a:pt x="289341" y="136896"/>
                </a:cubicBezTo>
                <a:close/>
                <a:moveTo>
                  <a:pt x="328013" y="189664"/>
                </a:moveTo>
                <a:cubicBezTo>
                  <a:pt x="330661" y="201351"/>
                  <a:pt x="332004" y="213305"/>
                  <a:pt x="332013" y="225288"/>
                </a:cubicBezTo>
                <a:cubicBezTo>
                  <a:pt x="332013" y="230545"/>
                  <a:pt x="336280" y="234813"/>
                  <a:pt x="341538" y="234813"/>
                </a:cubicBezTo>
                <a:lnTo>
                  <a:pt x="341538" y="234813"/>
                </a:lnTo>
                <a:cubicBezTo>
                  <a:pt x="346796" y="234813"/>
                  <a:pt x="351063" y="230545"/>
                  <a:pt x="351063" y="225288"/>
                </a:cubicBezTo>
                <a:cubicBezTo>
                  <a:pt x="351044" y="211857"/>
                  <a:pt x="349539" y="198475"/>
                  <a:pt x="346586" y="185378"/>
                </a:cubicBezTo>
                <a:cubicBezTo>
                  <a:pt x="345377" y="180120"/>
                  <a:pt x="340128" y="176834"/>
                  <a:pt x="334871" y="178044"/>
                </a:cubicBezTo>
                <a:cubicBezTo>
                  <a:pt x="329613" y="179253"/>
                  <a:pt x="326327" y="184502"/>
                  <a:pt x="327536" y="189760"/>
                </a:cubicBezTo>
                <a:close/>
                <a:moveTo>
                  <a:pt x="340300" y="253767"/>
                </a:moveTo>
                <a:cubicBezTo>
                  <a:pt x="335080" y="253101"/>
                  <a:pt x="330308" y="256787"/>
                  <a:pt x="329641" y="261997"/>
                </a:cubicBezTo>
                <a:cubicBezTo>
                  <a:pt x="329632" y="262016"/>
                  <a:pt x="329632" y="262035"/>
                  <a:pt x="329632" y="262054"/>
                </a:cubicBezTo>
                <a:cubicBezTo>
                  <a:pt x="328013" y="274322"/>
                  <a:pt x="325755" y="286495"/>
                  <a:pt x="322869" y="298535"/>
                </a:cubicBezTo>
                <a:cubicBezTo>
                  <a:pt x="321631" y="303650"/>
                  <a:pt x="324774" y="308793"/>
                  <a:pt x="329889" y="310032"/>
                </a:cubicBezTo>
                <a:cubicBezTo>
                  <a:pt x="329927" y="310041"/>
                  <a:pt x="329975" y="310051"/>
                  <a:pt x="330013" y="310060"/>
                </a:cubicBezTo>
                <a:lnTo>
                  <a:pt x="332204" y="310060"/>
                </a:lnTo>
                <a:cubicBezTo>
                  <a:pt x="336718" y="310184"/>
                  <a:pt x="340690" y="307117"/>
                  <a:pt x="341729" y="302726"/>
                </a:cubicBezTo>
                <a:cubicBezTo>
                  <a:pt x="344777" y="289677"/>
                  <a:pt x="347158" y="276723"/>
                  <a:pt x="348777" y="264626"/>
                </a:cubicBezTo>
                <a:cubicBezTo>
                  <a:pt x="349539" y="259425"/>
                  <a:pt x="345939" y="254587"/>
                  <a:pt x="340738" y="253825"/>
                </a:cubicBezTo>
                <a:cubicBezTo>
                  <a:pt x="340586" y="253796"/>
                  <a:pt x="340443" y="253786"/>
                  <a:pt x="340300" y="253767"/>
                </a:cubicBezTo>
                <a:close/>
                <a:moveTo>
                  <a:pt x="324488" y="328348"/>
                </a:moveTo>
                <a:cubicBezTo>
                  <a:pt x="319469" y="326872"/>
                  <a:pt x="314192" y="329720"/>
                  <a:pt x="312677" y="334730"/>
                </a:cubicBezTo>
                <a:cubicBezTo>
                  <a:pt x="309287" y="345817"/>
                  <a:pt x="304038" y="356256"/>
                  <a:pt x="297152" y="365591"/>
                </a:cubicBezTo>
                <a:lnTo>
                  <a:pt x="297152" y="365591"/>
                </a:lnTo>
                <a:cubicBezTo>
                  <a:pt x="284122" y="384774"/>
                  <a:pt x="261909" y="395642"/>
                  <a:pt x="238763" y="394166"/>
                </a:cubicBezTo>
                <a:cubicBezTo>
                  <a:pt x="199330" y="392356"/>
                  <a:pt x="112271" y="340636"/>
                  <a:pt x="72933" y="273008"/>
                </a:cubicBezTo>
                <a:cubicBezTo>
                  <a:pt x="51026" y="234908"/>
                  <a:pt x="48168" y="199951"/>
                  <a:pt x="64456" y="168233"/>
                </a:cubicBezTo>
                <a:cubicBezTo>
                  <a:pt x="87792" y="122322"/>
                  <a:pt x="129702" y="130609"/>
                  <a:pt x="151991" y="139658"/>
                </a:cubicBezTo>
                <a:cubicBezTo>
                  <a:pt x="157858" y="142858"/>
                  <a:pt x="164364" y="144687"/>
                  <a:pt x="171041" y="144992"/>
                </a:cubicBezTo>
                <a:lnTo>
                  <a:pt x="175422" y="144992"/>
                </a:lnTo>
                <a:lnTo>
                  <a:pt x="177994" y="141563"/>
                </a:lnTo>
                <a:cubicBezTo>
                  <a:pt x="187214" y="129580"/>
                  <a:pt x="194596" y="116284"/>
                  <a:pt x="199901" y="102129"/>
                </a:cubicBezTo>
                <a:cubicBezTo>
                  <a:pt x="213313" y="73602"/>
                  <a:pt x="230448" y="46989"/>
                  <a:pt x="250860" y="22977"/>
                </a:cubicBezTo>
                <a:lnTo>
                  <a:pt x="262671" y="32502"/>
                </a:lnTo>
                <a:lnTo>
                  <a:pt x="252384" y="44313"/>
                </a:lnTo>
                <a:cubicBezTo>
                  <a:pt x="236954" y="62258"/>
                  <a:pt x="229257" y="85575"/>
                  <a:pt x="230953" y="109178"/>
                </a:cubicBezTo>
                <a:lnTo>
                  <a:pt x="230953" y="110702"/>
                </a:lnTo>
                <a:cubicBezTo>
                  <a:pt x="234601" y="126294"/>
                  <a:pt x="236039" y="142325"/>
                  <a:pt x="235239" y="158327"/>
                </a:cubicBezTo>
                <a:lnTo>
                  <a:pt x="235239" y="158327"/>
                </a:lnTo>
                <a:cubicBezTo>
                  <a:pt x="234782" y="168423"/>
                  <a:pt x="233277" y="178444"/>
                  <a:pt x="230762" y="188236"/>
                </a:cubicBezTo>
                <a:cubicBezTo>
                  <a:pt x="229458" y="193331"/>
                  <a:pt x="232525" y="198522"/>
                  <a:pt x="237620" y="199827"/>
                </a:cubicBezTo>
                <a:cubicBezTo>
                  <a:pt x="237649" y="199837"/>
                  <a:pt x="237687" y="199846"/>
                  <a:pt x="237716" y="199856"/>
                </a:cubicBezTo>
                <a:lnTo>
                  <a:pt x="240002" y="199856"/>
                </a:lnTo>
                <a:cubicBezTo>
                  <a:pt x="244488" y="199989"/>
                  <a:pt x="248450" y="196970"/>
                  <a:pt x="249527" y="192617"/>
                </a:cubicBezTo>
                <a:cubicBezTo>
                  <a:pt x="252337" y="181606"/>
                  <a:pt x="254022" y="170338"/>
                  <a:pt x="254575" y="158994"/>
                </a:cubicBezTo>
                <a:lnTo>
                  <a:pt x="254575" y="158994"/>
                </a:lnTo>
                <a:cubicBezTo>
                  <a:pt x="255108" y="149469"/>
                  <a:pt x="254889" y="139915"/>
                  <a:pt x="253908" y="130419"/>
                </a:cubicBezTo>
                <a:lnTo>
                  <a:pt x="256861" y="130419"/>
                </a:lnTo>
                <a:cubicBezTo>
                  <a:pt x="262119" y="130104"/>
                  <a:pt x="266129" y="125580"/>
                  <a:pt x="265814" y="120322"/>
                </a:cubicBezTo>
                <a:cubicBezTo>
                  <a:pt x="265500" y="115064"/>
                  <a:pt x="260976" y="111054"/>
                  <a:pt x="255718" y="111369"/>
                </a:cubicBezTo>
                <a:lnTo>
                  <a:pt x="251146" y="111369"/>
                </a:lnTo>
                <a:cubicBezTo>
                  <a:pt x="251146" y="109369"/>
                  <a:pt x="250384" y="107559"/>
                  <a:pt x="250003" y="105844"/>
                </a:cubicBezTo>
                <a:cubicBezTo>
                  <a:pt x="248841" y="87518"/>
                  <a:pt x="254889" y="69468"/>
                  <a:pt x="266862" y="55552"/>
                </a:cubicBezTo>
                <a:lnTo>
                  <a:pt x="280292" y="40027"/>
                </a:lnTo>
                <a:cubicBezTo>
                  <a:pt x="285455" y="34064"/>
                  <a:pt x="284817" y="25043"/>
                  <a:pt x="278854" y="19871"/>
                </a:cubicBezTo>
                <a:cubicBezTo>
                  <a:pt x="278759" y="19795"/>
                  <a:pt x="278673" y="19719"/>
                  <a:pt x="278578" y="19643"/>
                </a:cubicBezTo>
                <a:lnTo>
                  <a:pt x="259528" y="3831"/>
                </a:lnTo>
                <a:cubicBezTo>
                  <a:pt x="253508" y="-1083"/>
                  <a:pt x="244678" y="-369"/>
                  <a:pt x="239525" y="5451"/>
                </a:cubicBezTo>
                <a:cubicBezTo>
                  <a:pt x="216370" y="32149"/>
                  <a:pt x="197130" y="62010"/>
                  <a:pt x="182375" y="94128"/>
                </a:cubicBezTo>
                <a:cubicBezTo>
                  <a:pt x="178413" y="104673"/>
                  <a:pt x="173098" y="114664"/>
                  <a:pt x="166564" y="123846"/>
                </a:cubicBezTo>
                <a:cubicBezTo>
                  <a:pt x="164087" y="123056"/>
                  <a:pt x="161668" y="122103"/>
                  <a:pt x="159325" y="120989"/>
                </a:cubicBezTo>
                <a:cubicBezTo>
                  <a:pt x="110938" y="101939"/>
                  <a:pt x="69028" y="116036"/>
                  <a:pt x="47311" y="159089"/>
                </a:cubicBezTo>
                <a:cubicBezTo>
                  <a:pt x="28261" y="196617"/>
                  <a:pt x="31309" y="239194"/>
                  <a:pt x="56360" y="282342"/>
                </a:cubicBezTo>
                <a:cubicBezTo>
                  <a:pt x="96746" y="351875"/>
                  <a:pt x="188567" y="410644"/>
                  <a:pt x="237335" y="412930"/>
                </a:cubicBezTo>
                <a:lnTo>
                  <a:pt x="241907" y="412930"/>
                </a:lnTo>
                <a:cubicBezTo>
                  <a:pt x="269758" y="413130"/>
                  <a:pt x="295923" y="399633"/>
                  <a:pt x="311915" y="376830"/>
                </a:cubicBezTo>
                <a:lnTo>
                  <a:pt x="311915" y="376830"/>
                </a:lnTo>
                <a:cubicBezTo>
                  <a:pt x="320088" y="365648"/>
                  <a:pt x="326365" y="353189"/>
                  <a:pt x="330489" y="339969"/>
                </a:cubicBezTo>
                <a:cubicBezTo>
                  <a:pt x="331880" y="335120"/>
                  <a:pt x="329251" y="330015"/>
                  <a:pt x="324488" y="328348"/>
                </a:cubicBezTo>
                <a:close/>
                <a:moveTo>
                  <a:pt x="231239" y="217191"/>
                </a:moveTo>
                <a:cubicBezTo>
                  <a:pt x="226638" y="214639"/>
                  <a:pt x="220837" y="216296"/>
                  <a:pt x="218285" y="220897"/>
                </a:cubicBezTo>
                <a:cubicBezTo>
                  <a:pt x="218285" y="220897"/>
                  <a:pt x="218285" y="220906"/>
                  <a:pt x="218285" y="220906"/>
                </a:cubicBezTo>
                <a:cubicBezTo>
                  <a:pt x="212522" y="231269"/>
                  <a:pt x="205483" y="240871"/>
                  <a:pt x="197330" y="249481"/>
                </a:cubicBezTo>
                <a:cubicBezTo>
                  <a:pt x="193729" y="253320"/>
                  <a:pt x="193920" y="259359"/>
                  <a:pt x="197758" y="262959"/>
                </a:cubicBezTo>
                <a:cubicBezTo>
                  <a:pt x="201597" y="266560"/>
                  <a:pt x="207636" y="266369"/>
                  <a:pt x="211236" y="262530"/>
                </a:cubicBezTo>
                <a:cubicBezTo>
                  <a:pt x="220437" y="252644"/>
                  <a:pt x="228410" y="241671"/>
                  <a:pt x="234953" y="229860"/>
                </a:cubicBezTo>
                <a:cubicBezTo>
                  <a:pt x="237316" y="225326"/>
                  <a:pt x="235677" y="219734"/>
                  <a:pt x="231239" y="217191"/>
                </a:cubicBezTo>
                <a:close/>
                <a:moveTo>
                  <a:pt x="89411" y="101748"/>
                </a:moveTo>
                <a:cubicBezTo>
                  <a:pt x="91183" y="104377"/>
                  <a:pt x="94145" y="105939"/>
                  <a:pt x="97317" y="105939"/>
                </a:cubicBezTo>
                <a:cubicBezTo>
                  <a:pt x="99213" y="105939"/>
                  <a:pt x="101070" y="105378"/>
                  <a:pt x="102651" y="104320"/>
                </a:cubicBezTo>
                <a:cubicBezTo>
                  <a:pt x="106995" y="101348"/>
                  <a:pt x="108099" y="95424"/>
                  <a:pt x="105128" y="91080"/>
                </a:cubicBezTo>
                <a:lnTo>
                  <a:pt x="76553" y="48408"/>
                </a:lnTo>
                <a:lnTo>
                  <a:pt x="8163" y="62791"/>
                </a:lnTo>
                <a:cubicBezTo>
                  <a:pt x="2953" y="63525"/>
                  <a:pt x="-676" y="68335"/>
                  <a:pt x="57" y="73545"/>
                </a:cubicBezTo>
                <a:cubicBezTo>
                  <a:pt x="781" y="78755"/>
                  <a:pt x="5601" y="82384"/>
                  <a:pt x="10811" y="81660"/>
                </a:cubicBezTo>
                <a:cubicBezTo>
                  <a:pt x="11268" y="81593"/>
                  <a:pt x="11716" y="81498"/>
                  <a:pt x="12164" y="81365"/>
                </a:cubicBezTo>
                <a:lnTo>
                  <a:pt x="67980" y="69649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0" cap="flat">
            <a:solidFill>
              <a:schemeClr val="accent4">
                <a:lumMod val="7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14" name="Graphic 11">
            <a:extLst>
              <a:ext uri="{FF2B5EF4-FFF2-40B4-BE49-F238E27FC236}">
                <a16:creationId xmlns:a16="http://schemas.microsoft.com/office/drawing/2014/main" id="{8292A006-B06A-E2A9-88FF-B556258631DA}"/>
              </a:ext>
            </a:extLst>
          </p:cNvPr>
          <p:cNvSpPr/>
          <p:nvPr/>
        </p:nvSpPr>
        <p:spPr>
          <a:xfrm>
            <a:off x="3283897" y="3666232"/>
            <a:ext cx="1362775" cy="1367673"/>
          </a:xfrm>
          <a:custGeom>
            <a:avLst/>
            <a:gdLst>
              <a:gd name="connsiteX0" fmla="*/ 138839 w 1362775"/>
              <a:gd name="connsiteY0" fmla="*/ 831638 h 1367673"/>
              <a:gd name="connsiteX1" fmla="*/ 801905 w 1362775"/>
              <a:gd name="connsiteY1" fmla="*/ 852014 h 1367673"/>
              <a:gd name="connsiteX2" fmla="*/ 856421 w 1362775"/>
              <a:gd name="connsiteY2" fmla="*/ 906711 h 1367673"/>
              <a:gd name="connsiteX3" fmla="*/ 805255 w 1362775"/>
              <a:gd name="connsiteY3" fmla="*/ 960502 h 1367673"/>
              <a:gd name="connsiteX4" fmla="*/ 1179984 w 1362775"/>
              <a:gd name="connsiteY4" fmla="*/ 1336227 h 1367673"/>
              <a:gd name="connsiteX5" fmla="*/ 1331397 w 1362775"/>
              <a:gd name="connsiteY5" fmla="*/ 1336227 h 1367673"/>
              <a:gd name="connsiteX6" fmla="*/ 1331397 w 1362775"/>
              <a:gd name="connsiteY6" fmla="*/ 1184361 h 1367673"/>
              <a:gd name="connsiteX7" fmla="*/ 956397 w 1362775"/>
              <a:gd name="connsiteY7" fmla="*/ 808637 h 1367673"/>
              <a:gd name="connsiteX8" fmla="*/ 903058 w 1362775"/>
              <a:gd name="connsiteY8" fmla="*/ 862428 h 1367673"/>
              <a:gd name="connsiteX9" fmla="*/ 848270 w 1362775"/>
              <a:gd name="connsiteY9" fmla="*/ 807459 h 1367673"/>
              <a:gd name="connsiteX10" fmla="*/ 805165 w 1362775"/>
              <a:gd name="connsiteY10" fmla="*/ 121574 h 1367673"/>
              <a:gd name="connsiteX11" fmla="*/ 121090 w 1362775"/>
              <a:gd name="connsiteY11" fmla="*/ 164589 h 1367673"/>
              <a:gd name="connsiteX12" fmla="*/ 142462 w 1362775"/>
              <a:gd name="connsiteY12" fmla="*/ 830099 h 1367673"/>
              <a:gd name="connsiteX13" fmla="*/ 138839 w 1362775"/>
              <a:gd name="connsiteY13" fmla="*/ 831638 h 1367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62775" h="1367673">
                <a:moveTo>
                  <a:pt x="138839" y="831638"/>
                </a:moveTo>
                <a:cubicBezTo>
                  <a:pt x="319865" y="1012754"/>
                  <a:pt x="610194" y="1021719"/>
                  <a:pt x="801905" y="852014"/>
                </a:cubicBezTo>
                <a:lnTo>
                  <a:pt x="856421" y="906711"/>
                </a:lnTo>
                <a:lnTo>
                  <a:pt x="805255" y="960502"/>
                </a:lnTo>
                <a:lnTo>
                  <a:pt x="1179984" y="1336227"/>
                </a:lnTo>
                <a:cubicBezTo>
                  <a:pt x="1221822" y="1378155"/>
                  <a:pt x="1289650" y="1378155"/>
                  <a:pt x="1331397" y="1336227"/>
                </a:cubicBezTo>
                <a:cubicBezTo>
                  <a:pt x="1373235" y="1294299"/>
                  <a:pt x="1373235" y="1226290"/>
                  <a:pt x="1331397" y="1184361"/>
                </a:cubicBezTo>
                <a:lnTo>
                  <a:pt x="956397" y="808637"/>
                </a:lnTo>
                <a:lnTo>
                  <a:pt x="903058" y="862428"/>
                </a:lnTo>
                <a:lnTo>
                  <a:pt x="848270" y="807459"/>
                </a:lnTo>
                <a:cubicBezTo>
                  <a:pt x="1025221" y="606149"/>
                  <a:pt x="1005932" y="299067"/>
                  <a:pt x="805165" y="121574"/>
                </a:cubicBezTo>
                <a:cubicBezTo>
                  <a:pt x="604398" y="-56101"/>
                  <a:pt x="298131" y="-36721"/>
                  <a:pt x="121090" y="164589"/>
                </a:cubicBezTo>
                <a:cubicBezTo>
                  <a:pt x="-48253" y="357205"/>
                  <a:pt x="-38926" y="648711"/>
                  <a:pt x="142462" y="830099"/>
                </a:cubicBezTo>
                <a:lnTo>
                  <a:pt x="138839" y="831638"/>
                </a:lnTo>
                <a:close/>
              </a:path>
            </a:pathLst>
          </a:custGeom>
          <a:noFill/>
          <a:ln w="31750" cap="flat">
            <a:solidFill>
              <a:schemeClr val="accent4">
                <a:lumMod val="7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8BBB146-DF87-D10C-EA82-48B1AEF3E5B8}"/>
              </a:ext>
            </a:extLst>
          </p:cNvPr>
          <p:cNvGrpSpPr/>
          <p:nvPr/>
        </p:nvGrpSpPr>
        <p:grpSpPr>
          <a:xfrm>
            <a:off x="2632017" y="69654"/>
            <a:ext cx="176384" cy="157020"/>
            <a:chOff x="741810" y="17969"/>
            <a:chExt cx="253314" cy="225504"/>
          </a:xfrm>
        </p:grpSpPr>
        <p:sp>
          <p:nvSpPr>
            <p:cNvPr id="17" name="Graphic 27">
              <a:extLst>
                <a:ext uri="{FF2B5EF4-FFF2-40B4-BE49-F238E27FC236}">
                  <a16:creationId xmlns:a16="http://schemas.microsoft.com/office/drawing/2014/main" id="{77F3B058-64F3-39F3-0E5D-F6D63396799C}"/>
                </a:ext>
              </a:extLst>
            </p:cNvPr>
            <p:cNvSpPr/>
            <p:nvPr/>
          </p:nvSpPr>
          <p:spPr>
            <a:xfrm>
              <a:off x="741810" y="17969"/>
              <a:ext cx="253314" cy="225504"/>
            </a:xfrm>
            <a:custGeom>
              <a:avLst/>
              <a:gdLst>
                <a:gd name="connsiteX0" fmla="*/ 369721 w 406908"/>
                <a:gd name="connsiteY0" fmla="*/ -35 h 362237"/>
                <a:gd name="connsiteX1" fmla="*/ 37108 w 406908"/>
                <a:gd name="connsiteY1" fmla="*/ -35 h 362237"/>
                <a:gd name="connsiteX2" fmla="*/ -39 w 406908"/>
                <a:gd name="connsiteY2" fmla="*/ 36350 h 362237"/>
                <a:gd name="connsiteX3" fmla="*/ -39 w 406908"/>
                <a:gd name="connsiteY3" fmla="*/ 36350 h 362237"/>
                <a:gd name="connsiteX4" fmla="*/ -39 w 406908"/>
                <a:gd name="connsiteY4" fmla="*/ 284000 h 362237"/>
                <a:gd name="connsiteX5" fmla="*/ 22916 w 406908"/>
                <a:gd name="connsiteY5" fmla="*/ 306955 h 362237"/>
                <a:gd name="connsiteX6" fmla="*/ 161886 w 406908"/>
                <a:gd name="connsiteY6" fmla="*/ 306955 h 362237"/>
                <a:gd name="connsiteX7" fmla="*/ 152361 w 406908"/>
                <a:gd name="connsiteY7" fmla="*/ 343150 h 362237"/>
                <a:gd name="connsiteX8" fmla="*/ 120166 w 406908"/>
                <a:gd name="connsiteY8" fmla="*/ 343150 h 362237"/>
                <a:gd name="connsiteX9" fmla="*/ 110641 w 406908"/>
                <a:gd name="connsiteY9" fmla="*/ 352675 h 362237"/>
                <a:gd name="connsiteX10" fmla="*/ 120166 w 406908"/>
                <a:gd name="connsiteY10" fmla="*/ 362200 h 362237"/>
                <a:gd name="connsiteX11" fmla="*/ 286663 w 406908"/>
                <a:gd name="connsiteY11" fmla="*/ 362200 h 362237"/>
                <a:gd name="connsiteX12" fmla="*/ 296188 w 406908"/>
                <a:gd name="connsiteY12" fmla="*/ 352675 h 362237"/>
                <a:gd name="connsiteX13" fmla="*/ 286663 w 406908"/>
                <a:gd name="connsiteY13" fmla="*/ 343150 h 362237"/>
                <a:gd name="connsiteX14" fmla="*/ 257231 w 406908"/>
                <a:gd name="connsiteY14" fmla="*/ 343150 h 362237"/>
                <a:gd name="connsiteX15" fmla="*/ 248658 w 406908"/>
                <a:gd name="connsiteY15" fmla="*/ 306955 h 362237"/>
                <a:gd name="connsiteX16" fmla="*/ 382770 w 406908"/>
                <a:gd name="connsiteY16" fmla="*/ 306955 h 362237"/>
                <a:gd name="connsiteX17" fmla="*/ 406869 w 406908"/>
                <a:gd name="connsiteY17" fmla="*/ 283238 h 362237"/>
                <a:gd name="connsiteX18" fmla="*/ 406869 w 406908"/>
                <a:gd name="connsiteY18" fmla="*/ 36350 h 362237"/>
                <a:gd name="connsiteX19" fmla="*/ 369725 w 406908"/>
                <a:gd name="connsiteY19" fmla="*/ -35 h 362237"/>
                <a:gd name="connsiteX20" fmla="*/ 369721 w 406908"/>
                <a:gd name="connsiteY20" fmla="*/ -35 h 362237"/>
                <a:gd name="connsiteX21" fmla="*/ 37108 w 406908"/>
                <a:gd name="connsiteY21" fmla="*/ 19015 h 362237"/>
                <a:gd name="connsiteX22" fmla="*/ 369721 w 406908"/>
                <a:gd name="connsiteY22" fmla="*/ 19015 h 362237"/>
                <a:gd name="connsiteX23" fmla="*/ 387819 w 406908"/>
                <a:gd name="connsiteY23" fmla="*/ 36340 h 362237"/>
                <a:gd name="connsiteX24" fmla="*/ 387819 w 406908"/>
                <a:gd name="connsiteY24" fmla="*/ 36350 h 362237"/>
                <a:gd name="connsiteX25" fmla="*/ 387819 w 406908"/>
                <a:gd name="connsiteY25" fmla="*/ 230374 h 362237"/>
                <a:gd name="connsiteX26" fmla="*/ 19011 w 406908"/>
                <a:gd name="connsiteY26" fmla="*/ 230374 h 362237"/>
                <a:gd name="connsiteX27" fmla="*/ 19011 w 406908"/>
                <a:gd name="connsiteY27" fmla="*/ 36350 h 362237"/>
                <a:gd name="connsiteX28" fmla="*/ 37100 w 406908"/>
                <a:gd name="connsiteY28" fmla="*/ 19015 h 362237"/>
                <a:gd name="connsiteX29" fmla="*/ 37108 w 406908"/>
                <a:gd name="connsiteY29" fmla="*/ 19015 h 362237"/>
                <a:gd name="connsiteX30" fmla="*/ 237609 w 406908"/>
                <a:gd name="connsiteY30" fmla="*/ 343531 h 362237"/>
                <a:gd name="connsiteX31" fmla="*/ 171887 w 406908"/>
                <a:gd name="connsiteY31" fmla="*/ 343531 h 362237"/>
                <a:gd name="connsiteX32" fmla="*/ 181412 w 406908"/>
                <a:gd name="connsiteY32" fmla="*/ 307336 h 362237"/>
                <a:gd name="connsiteX33" fmla="*/ 229037 w 406908"/>
                <a:gd name="connsiteY33" fmla="*/ 307336 h 362237"/>
                <a:gd name="connsiteX34" fmla="*/ 382770 w 406908"/>
                <a:gd name="connsiteY34" fmla="*/ 288286 h 362237"/>
                <a:gd name="connsiteX35" fmla="*/ 22916 w 406908"/>
                <a:gd name="connsiteY35" fmla="*/ 288286 h 362237"/>
                <a:gd name="connsiteX36" fmla="*/ 19011 w 406908"/>
                <a:gd name="connsiteY36" fmla="*/ 284381 h 362237"/>
                <a:gd name="connsiteX37" fmla="*/ 19011 w 406908"/>
                <a:gd name="connsiteY37" fmla="*/ 249520 h 362237"/>
                <a:gd name="connsiteX38" fmla="*/ 387819 w 406908"/>
                <a:gd name="connsiteY38" fmla="*/ 249520 h 362237"/>
                <a:gd name="connsiteX39" fmla="*/ 387819 w 406908"/>
                <a:gd name="connsiteY39" fmla="*/ 283619 h 362237"/>
                <a:gd name="connsiteX40" fmla="*/ 382770 w 406908"/>
                <a:gd name="connsiteY40" fmla="*/ 288191 h 362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406908" h="362237">
                  <a:moveTo>
                    <a:pt x="369721" y="-35"/>
                  </a:moveTo>
                  <a:lnTo>
                    <a:pt x="37108" y="-35"/>
                  </a:lnTo>
                  <a:cubicBezTo>
                    <a:pt x="16804" y="-245"/>
                    <a:pt x="172" y="16043"/>
                    <a:pt x="-39" y="36350"/>
                  </a:cubicBezTo>
                  <a:cubicBezTo>
                    <a:pt x="-39" y="36350"/>
                    <a:pt x="-39" y="36350"/>
                    <a:pt x="-39" y="36350"/>
                  </a:cubicBezTo>
                  <a:lnTo>
                    <a:pt x="-39" y="284000"/>
                  </a:lnTo>
                  <a:cubicBezTo>
                    <a:pt x="-39" y="296678"/>
                    <a:pt x="10238" y="306955"/>
                    <a:pt x="22916" y="306955"/>
                  </a:cubicBezTo>
                  <a:lnTo>
                    <a:pt x="161886" y="306955"/>
                  </a:lnTo>
                  <a:lnTo>
                    <a:pt x="152361" y="343150"/>
                  </a:lnTo>
                  <a:lnTo>
                    <a:pt x="120166" y="343150"/>
                  </a:lnTo>
                  <a:cubicBezTo>
                    <a:pt x="114905" y="343150"/>
                    <a:pt x="110641" y="347417"/>
                    <a:pt x="110641" y="352675"/>
                  </a:cubicBezTo>
                  <a:cubicBezTo>
                    <a:pt x="110641" y="357933"/>
                    <a:pt x="114905" y="362200"/>
                    <a:pt x="120166" y="362200"/>
                  </a:cubicBezTo>
                  <a:lnTo>
                    <a:pt x="286663" y="362200"/>
                  </a:lnTo>
                  <a:cubicBezTo>
                    <a:pt x="291924" y="362200"/>
                    <a:pt x="296188" y="357933"/>
                    <a:pt x="296188" y="352675"/>
                  </a:cubicBezTo>
                  <a:cubicBezTo>
                    <a:pt x="296188" y="347417"/>
                    <a:pt x="291924" y="343150"/>
                    <a:pt x="286663" y="343150"/>
                  </a:cubicBezTo>
                  <a:lnTo>
                    <a:pt x="257231" y="343150"/>
                  </a:lnTo>
                  <a:lnTo>
                    <a:pt x="248658" y="306955"/>
                  </a:lnTo>
                  <a:lnTo>
                    <a:pt x="382770" y="306955"/>
                  </a:lnTo>
                  <a:cubicBezTo>
                    <a:pt x="395953" y="307012"/>
                    <a:pt x="406711" y="296421"/>
                    <a:pt x="406869" y="283238"/>
                  </a:cubicBezTo>
                  <a:lnTo>
                    <a:pt x="406869" y="36350"/>
                  </a:lnTo>
                  <a:cubicBezTo>
                    <a:pt x="406659" y="16043"/>
                    <a:pt x="390029" y="-245"/>
                    <a:pt x="369725" y="-35"/>
                  </a:cubicBezTo>
                  <a:cubicBezTo>
                    <a:pt x="369724" y="-35"/>
                    <a:pt x="369722" y="-35"/>
                    <a:pt x="369721" y="-35"/>
                  </a:cubicBezTo>
                  <a:close/>
                  <a:moveTo>
                    <a:pt x="37108" y="19015"/>
                  </a:moveTo>
                  <a:lnTo>
                    <a:pt x="369721" y="19015"/>
                  </a:lnTo>
                  <a:cubicBezTo>
                    <a:pt x="379503" y="18805"/>
                    <a:pt x="387606" y="26558"/>
                    <a:pt x="387819" y="36340"/>
                  </a:cubicBezTo>
                  <a:cubicBezTo>
                    <a:pt x="387819" y="36340"/>
                    <a:pt x="387819" y="36350"/>
                    <a:pt x="387819" y="36350"/>
                  </a:cubicBezTo>
                  <a:lnTo>
                    <a:pt x="387819" y="230374"/>
                  </a:lnTo>
                  <a:lnTo>
                    <a:pt x="19011" y="230374"/>
                  </a:lnTo>
                  <a:lnTo>
                    <a:pt x="19011" y="36350"/>
                  </a:lnTo>
                  <a:cubicBezTo>
                    <a:pt x="19218" y="26568"/>
                    <a:pt x="27317" y="18805"/>
                    <a:pt x="37100" y="19015"/>
                  </a:cubicBezTo>
                  <a:cubicBezTo>
                    <a:pt x="37102" y="19015"/>
                    <a:pt x="37105" y="19015"/>
                    <a:pt x="37108" y="19015"/>
                  </a:cubicBezTo>
                  <a:close/>
                  <a:moveTo>
                    <a:pt x="237609" y="343531"/>
                  </a:moveTo>
                  <a:lnTo>
                    <a:pt x="171887" y="343531"/>
                  </a:lnTo>
                  <a:lnTo>
                    <a:pt x="181412" y="307336"/>
                  </a:lnTo>
                  <a:lnTo>
                    <a:pt x="229037" y="307336"/>
                  </a:lnTo>
                  <a:close/>
                  <a:moveTo>
                    <a:pt x="382770" y="288286"/>
                  </a:moveTo>
                  <a:lnTo>
                    <a:pt x="22916" y="288286"/>
                  </a:lnTo>
                  <a:cubicBezTo>
                    <a:pt x="20759" y="288286"/>
                    <a:pt x="19011" y="286534"/>
                    <a:pt x="19011" y="284381"/>
                  </a:cubicBezTo>
                  <a:lnTo>
                    <a:pt x="19011" y="249520"/>
                  </a:lnTo>
                  <a:lnTo>
                    <a:pt x="387819" y="249520"/>
                  </a:lnTo>
                  <a:lnTo>
                    <a:pt x="387819" y="283619"/>
                  </a:lnTo>
                  <a:cubicBezTo>
                    <a:pt x="387665" y="286267"/>
                    <a:pt x="385418" y="288296"/>
                    <a:pt x="382770" y="288191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is For Office"/>
                <a:ea typeface="+mn-ea"/>
                <a:cs typeface="+mn-cs"/>
              </a:endParaRPr>
            </a:p>
          </p:txBody>
        </p:sp>
        <p:sp>
          <p:nvSpPr>
            <p:cNvPr id="18" name="Graphic 27">
              <a:extLst>
                <a:ext uri="{FF2B5EF4-FFF2-40B4-BE49-F238E27FC236}">
                  <a16:creationId xmlns:a16="http://schemas.microsoft.com/office/drawing/2014/main" id="{D78B0BD8-99FA-F223-F0EA-CBF224DCBD64}"/>
                </a:ext>
              </a:extLst>
            </p:cNvPr>
            <p:cNvSpPr/>
            <p:nvPr/>
          </p:nvSpPr>
          <p:spPr>
            <a:xfrm>
              <a:off x="808739" y="36465"/>
              <a:ext cx="126764" cy="109286"/>
            </a:xfrm>
            <a:custGeom>
              <a:avLst/>
              <a:gdLst>
                <a:gd name="connsiteX0" fmla="*/ 407162 w 426243"/>
                <a:gd name="connsiteY0" fmla="*/ -32 h 367474"/>
                <a:gd name="connsiteX1" fmla="*/ 19018 w 426243"/>
                <a:gd name="connsiteY1" fmla="*/ -32 h 367474"/>
                <a:gd name="connsiteX2" fmla="*/ -32 w 426243"/>
                <a:gd name="connsiteY2" fmla="*/ 19018 h 367474"/>
                <a:gd name="connsiteX3" fmla="*/ -32 w 426243"/>
                <a:gd name="connsiteY3" fmla="*/ 348392 h 367474"/>
                <a:gd name="connsiteX4" fmla="*/ 19018 w 426243"/>
                <a:gd name="connsiteY4" fmla="*/ 367442 h 367474"/>
                <a:gd name="connsiteX5" fmla="*/ 407162 w 426243"/>
                <a:gd name="connsiteY5" fmla="*/ 367442 h 367474"/>
                <a:gd name="connsiteX6" fmla="*/ 426212 w 426243"/>
                <a:gd name="connsiteY6" fmla="*/ 348392 h 367474"/>
                <a:gd name="connsiteX7" fmla="*/ 426212 w 426243"/>
                <a:gd name="connsiteY7" fmla="*/ 19018 h 367474"/>
                <a:gd name="connsiteX8" fmla="*/ 407162 w 426243"/>
                <a:gd name="connsiteY8" fmla="*/ -32 h 367474"/>
                <a:gd name="connsiteX9" fmla="*/ 407162 w 426243"/>
                <a:gd name="connsiteY9" fmla="*/ 348392 h 367474"/>
                <a:gd name="connsiteX10" fmla="*/ 19018 w 426243"/>
                <a:gd name="connsiteY10" fmla="*/ 348392 h 367474"/>
                <a:gd name="connsiteX11" fmla="*/ 19018 w 426243"/>
                <a:gd name="connsiteY11" fmla="*/ 19018 h 367474"/>
                <a:gd name="connsiteX12" fmla="*/ 407162 w 426243"/>
                <a:gd name="connsiteY12" fmla="*/ 19018 h 367474"/>
                <a:gd name="connsiteX13" fmla="*/ 407162 w 426243"/>
                <a:gd name="connsiteY13" fmla="*/ 357917 h 367474"/>
                <a:gd name="connsiteX14" fmla="*/ 407162 w 426243"/>
                <a:gd name="connsiteY14" fmla="*/ 348392 h 367474"/>
                <a:gd name="connsiteX15" fmla="*/ 407162 w 426243"/>
                <a:gd name="connsiteY15" fmla="*/ 348392 h 367474"/>
                <a:gd name="connsiteX16" fmla="*/ 164560 w 426243"/>
                <a:gd name="connsiteY16" fmla="*/ 163893 h 367474"/>
                <a:gd name="connsiteX17" fmla="*/ 155035 w 426243"/>
                <a:gd name="connsiteY17" fmla="*/ 173418 h 367474"/>
                <a:gd name="connsiteX18" fmla="*/ 54546 w 426243"/>
                <a:gd name="connsiteY18" fmla="*/ 173418 h 367474"/>
                <a:gd name="connsiteX19" fmla="*/ 45021 w 426243"/>
                <a:gd name="connsiteY19" fmla="*/ 163893 h 367474"/>
                <a:gd name="connsiteX20" fmla="*/ 54546 w 426243"/>
                <a:gd name="connsiteY20" fmla="*/ 154368 h 367474"/>
                <a:gd name="connsiteX21" fmla="*/ 155035 w 426243"/>
                <a:gd name="connsiteY21" fmla="*/ 154368 h 367474"/>
                <a:gd name="connsiteX22" fmla="*/ 164560 w 426243"/>
                <a:gd name="connsiteY22" fmla="*/ 163893 h 367474"/>
                <a:gd name="connsiteX23" fmla="*/ 45021 w 426243"/>
                <a:gd name="connsiteY23" fmla="*/ 74263 h 367474"/>
                <a:gd name="connsiteX24" fmla="*/ 54546 w 426243"/>
                <a:gd name="connsiteY24" fmla="*/ 64738 h 367474"/>
                <a:gd name="connsiteX25" fmla="*/ 349821 w 426243"/>
                <a:gd name="connsiteY25" fmla="*/ 64738 h 367474"/>
                <a:gd name="connsiteX26" fmla="*/ 359346 w 426243"/>
                <a:gd name="connsiteY26" fmla="*/ 74263 h 367474"/>
                <a:gd name="connsiteX27" fmla="*/ 349821 w 426243"/>
                <a:gd name="connsiteY27" fmla="*/ 83788 h 367474"/>
                <a:gd name="connsiteX28" fmla="*/ 54546 w 426243"/>
                <a:gd name="connsiteY28" fmla="*/ 83788 h 367474"/>
                <a:gd name="connsiteX29" fmla="*/ 45021 w 426243"/>
                <a:gd name="connsiteY29" fmla="*/ 74263 h 367474"/>
                <a:gd name="connsiteX30" fmla="*/ 164560 w 426243"/>
                <a:gd name="connsiteY30" fmla="*/ 227901 h 367474"/>
                <a:gd name="connsiteX31" fmla="*/ 155035 w 426243"/>
                <a:gd name="connsiteY31" fmla="*/ 237426 h 367474"/>
                <a:gd name="connsiteX32" fmla="*/ 54546 w 426243"/>
                <a:gd name="connsiteY32" fmla="*/ 237426 h 367474"/>
                <a:gd name="connsiteX33" fmla="*/ 45021 w 426243"/>
                <a:gd name="connsiteY33" fmla="*/ 227901 h 367474"/>
                <a:gd name="connsiteX34" fmla="*/ 54546 w 426243"/>
                <a:gd name="connsiteY34" fmla="*/ 218376 h 367474"/>
                <a:gd name="connsiteX35" fmla="*/ 155035 w 426243"/>
                <a:gd name="connsiteY35" fmla="*/ 218376 h 367474"/>
                <a:gd name="connsiteX36" fmla="*/ 164560 w 426243"/>
                <a:gd name="connsiteY36" fmla="*/ 227901 h 367474"/>
                <a:gd name="connsiteX37" fmla="*/ 164560 w 426243"/>
                <a:gd name="connsiteY37" fmla="*/ 287147 h 367474"/>
                <a:gd name="connsiteX38" fmla="*/ 155035 w 426243"/>
                <a:gd name="connsiteY38" fmla="*/ 296672 h 367474"/>
                <a:gd name="connsiteX39" fmla="*/ 54546 w 426243"/>
                <a:gd name="connsiteY39" fmla="*/ 296672 h 367474"/>
                <a:gd name="connsiteX40" fmla="*/ 45021 w 426243"/>
                <a:gd name="connsiteY40" fmla="*/ 287147 h 367474"/>
                <a:gd name="connsiteX41" fmla="*/ 54546 w 426243"/>
                <a:gd name="connsiteY41" fmla="*/ 277622 h 367474"/>
                <a:gd name="connsiteX42" fmla="*/ 155035 w 426243"/>
                <a:gd name="connsiteY42" fmla="*/ 277622 h 367474"/>
                <a:gd name="connsiteX43" fmla="*/ 164560 w 426243"/>
                <a:gd name="connsiteY43" fmla="*/ 287147 h 367474"/>
                <a:gd name="connsiteX44" fmla="*/ 286194 w 426243"/>
                <a:gd name="connsiteY44" fmla="*/ 133127 h 367474"/>
                <a:gd name="connsiteX45" fmla="*/ 205137 w 426243"/>
                <a:gd name="connsiteY45" fmla="*/ 179895 h 367474"/>
                <a:gd name="connsiteX46" fmla="*/ 233159 w 426243"/>
                <a:gd name="connsiteY46" fmla="*/ 309311 h 367474"/>
                <a:gd name="connsiteX47" fmla="*/ 362575 w 426243"/>
                <a:gd name="connsiteY47" fmla="*/ 281289 h 367474"/>
                <a:gd name="connsiteX48" fmla="*/ 367062 w 426243"/>
                <a:gd name="connsiteY48" fmla="*/ 273526 h 367474"/>
                <a:gd name="connsiteX49" fmla="*/ 379539 w 426243"/>
                <a:gd name="connsiteY49" fmla="*/ 226758 h 367474"/>
                <a:gd name="connsiteX50" fmla="*/ 286194 w 426243"/>
                <a:gd name="connsiteY50" fmla="*/ 133127 h 367474"/>
                <a:gd name="connsiteX51" fmla="*/ 248952 w 426243"/>
                <a:gd name="connsiteY51" fmla="*/ 291338 h 367474"/>
                <a:gd name="connsiteX52" fmla="*/ 221615 w 426243"/>
                <a:gd name="connsiteY52" fmla="*/ 189420 h 367474"/>
                <a:gd name="connsiteX53" fmla="*/ 276669 w 426243"/>
                <a:gd name="connsiteY53" fmla="*/ 152749 h 367474"/>
                <a:gd name="connsiteX54" fmla="*/ 276669 w 426243"/>
                <a:gd name="connsiteY54" fmla="*/ 226758 h 367474"/>
                <a:gd name="connsiteX55" fmla="*/ 281432 w 426243"/>
                <a:gd name="connsiteY55" fmla="*/ 234949 h 367474"/>
                <a:gd name="connsiteX56" fmla="*/ 345535 w 426243"/>
                <a:gd name="connsiteY56" fmla="*/ 272002 h 367474"/>
                <a:gd name="connsiteX57" fmla="*/ 248952 w 426243"/>
                <a:gd name="connsiteY57" fmla="*/ 291338 h 367474"/>
                <a:gd name="connsiteX58" fmla="*/ 355155 w 426243"/>
                <a:gd name="connsiteY58" fmla="*/ 255523 h 367474"/>
                <a:gd name="connsiteX59" fmla="*/ 295719 w 426243"/>
                <a:gd name="connsiteY59" fmla="*/ 221234 h 367474"/>
                <a:gd name="connsiteX60" fmla="*/ 295719 w 426243"/>
                <a:gd name="connsiteY60" fmla="*/ 152749 h 367474"/>
                <a:gd name="connsiteX61" fmla="*/ 360775 w 426243"/>
                <a:gd name="connsiteY61" fmla="*/ 226758 h 367474"/>
                <a:gd name="connsiteX62" fmla="*/ 355155 w 426243"/>
                <a:gd name="connsiteY62" fmla="*/ 255523 h 367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426243" h="367474">
                  <a:moveTo>
                    <a:pt x="407162" y="-32"/>
                  </a:moveTo>
                  <a:lnTo>
                    <a:pt x="19018" y="-32"/>
                  </a:lnTo>
                  <a:cubicBezTo>
                    <a:pt x="8493" y="-32"/>
                    <a:pt x="-32" y="8493"/>
                    <a:pt x="-32" y="19018"/>
                  </a:cubicBezTo>
                  <a:lnTo>
                    <a:pt x="-32" y="348392"/>
                  </a:lnTo>
                  <a:cubicBezTo>
                    <a:pt x="-32" y="358917"/>
                    <a:pt x="8493" y="367442"/>
                    <a:pt x="19018" y="367442"/>
                  </a:cubicBezTo>
                  <a:lnTo>
                    <a:pt x="407162" y="367442"/>
                  </a:lnTo>
                  <a:cubicBezTo>
                    <a:pt x="417687" y="367442"/>
                    <a:pt x="426212" y="358917"/>
                    <a:pt x="426212" y="348392"/>
                  </a:cubicBezTo>
                  <a:lnTo>
                    <a:pt x="426212" y="19018"/>
                  </a:lnTo>
                  <a:cubicBezTo>
                    <a:pt x="426212" y="8493"/>
                    <a:pt x="417687" y="-32"/>
                    <a:pt x="407162" y="-32"/>
                  </a:cubicBezTo>
                  <a:close/>
                  <a:moveTo>
                    <a:pt x="407162" y="348392"/>
                  </a:moveTo>
                  <a:lnTo>
                    <a:pt x="19018" y="348392"/>
                  </a:lnTo>
                  <a:lnTo>
                    <a:pt x="19018" y="19018"/>
                  </a:lnTo>
                  <a:lnTo>
                    <a:pt x="407162" y="19018"/>
                  </a:lnTo>
                  <a:close/>
                  <a:moveTo>
                    <a:pt x="407162" y="357917"/>
                  </a:moveTo>
                  <a:lnTo>
                    <a:pt x="407162" y="348392"/>
                  </a:lnTo>
                  <a:lnTo>
                    <a:pt x="407162" y="348392"/>
                  </a:lnTo>
                  <a:close/>
                  <a:moveTo>
                    <a:pt x="164560" y="163893"/>
                  </a:moveTo>
                  <a:cubicBezTo>
                    <a:pt x="164560" y="169151"/>
                    <a:pt x="160293" y="173418"/>
                    <a:pt x="155035" y="173418"/>
                  </a:cubicBezTo>
                  <a:lnTo>
                    <a:pt x="54546" y="173418"/>
                  </a:lnTo>
                  <a:cubicBezTo>
                    <a:pt x="49288" y="173418"/>
                    <a:pt x="45021" y="169151"/>
                    <a:pt x="45021" y="163893"/>
                  </a:cubicBezTo>
                  <a:cubicBezTo>
                    <a:pt x="45021" y="158635"/>
                    <a:pt x="49288" y="154368"/>
                    <a:pt x="54546" y="154368"/>
                  </a:cubicBezTo>
                  <a:lnTo>
                    <a:pt x="155035" y="154368"/>
                  </a:lnTo>
                  <a:cubicBezTo>
                    <a:pt x="160293" y="154368"/>
                    <a:pt x="164560" y="158635"/>
                    <a:pt x="164560" y="163893"/>
                  </a:cubicBezTo>
                  <a:close/>
                  <a:moveTo>
                    <a:pt x="45021" y="74263"/>
                  </a:moveTo>
                  <a:cubicBezTo>
                    <a:pt x="45021" y="69005"/>
                    <a:pt x="49288" y="64738"/>
                    <a:pt x="54546" y="64738"/>
                  </a:cubicBezTo>
                  <a:lnTo>
                    <a:pt x="349821" y="64738"/>
                  </a:lnTo>
                  <a:cubicBezTo>
                    <a:pt x="355079" y="64738"/>
                    <a:pt x="359346" y="69005"/>
                    <a:pt x="359346" y="74263"/>
                  </a:cubicBezTo>
                  <a:cubicBezTo>
                    <a:pt x="359346" y="79521"/>
                    <a:pt x="355079" y="83788"/>
                    <a:pt x="349821" y="83788"/>
                  </a:cubicBezTo>
                  <a:lnTo>
                    <a:pt x="54546" y="83788"/>
                  </a:lnTo>
                  <a:cubicBezTo>
                    <a:pt x="49288" y="83788"/>
                    <a:pt x="45021" y="79521"/>
                    <a:pt x="45021" y="74263"/>
                  </a:cubicBezTo>
                  <a:close/>
                  <a:moveTo>
                    <a:pt x="164560" y="227901"/>
                  </a:moveTo>
                  <a:cubicBezTo>
                    <a:pt x="164560" y="233159"/>
                    <a:pt x="160293" y="237426"/>
                    <a:pt x="155035" y="237426"/>
                  </a:cubicBezTo>
                  <a:lnTo>
                    <a:pt x="54546" y="237426"/>
                  </a:lnTo>
                  <a:cubicBezTo>
                    <a:pt x="49288" y="237426"/>
                    <a:pt x="45021" y="233159"/>
                    <a:pt x="45021" y="227901"/>
                  </a:cubicBezTo>
                  <a:cubicBezTo>
                    <a:pt x="45021" y="222643"/>
                    <a:pt x="49288" y="218376"/>
                    <a:pt x="54546" y="218376"/>
                  </a:cubicBezTo>
                  <a:lnTo>
                    <a:pt x="155035" y="218376"/>
                  </a:lnTo>
                  <a:cubicBezTo>
                    <a:pt x="160293" y="218376"/>
                    <a:pt x="164560" y="222643"/>
                    <a:pt x="164560" y="227901"/>
                  </a:cubicBezTo>
                  <a:close/>
                  <a:moveTo>
                    <a:pt x="164560" y="287147"/>
                  </a:moveTo>
                  <a:cubicBezTo>
                    <a:pt x="164560" y="292404"/>
                    <a:pt x="160293" y="296672"/>
                    <a:pt x="155035" y="296672"/>
                  </a:cubicBezTo>
                  <a:lnTo>
                    <a:pt x="54546" y="296672"/>
                  </a:lnTo>
                  <a:cubicBezTo>
                    <a:pt x="49288" y="296672"/>
                    <a:pt x="45021" y="292404"/>
                    <a:pt x="45021" y="287147"/>
                  </a:cubicBezTo>
                  <a:cubicBezTo>
                    <a:pt x="45021" y="281889"/>
                    <a:pt x="49288" y="277622"/>
                    <a:pt x="54546" y="277622"/>
                  </a:cubicBezTo>
                  <a:lnTo>
                    <a:pt x="155035" y="277622"/>
                  </a:lnTo>
                  <a:cubicBezTo>
                    <a:pt x="160293" y="277622"/>
                    <a:pt x="164560" y="281889"/>
                    <a:pt x="164560" y="287147"/>
                  </a:cubicBezTo>
                  <a:close/>
                  <a:moveTo>
                    <a:pt x="286194" y="133127"/>
                  </a:moveTo>
                  <a:cubicBezTo>
                    <a:pt x="252647" y="132679"/>
                    <a:pt x="221539" y="150625"/>
                    <a:pt x="205137" y="179895"/>
                  </a:cubicBezTo>
                  <a:cubicBezTo>
                    <a:pt x="177133" y="223367"/>
                    <a:pt x="189677" y="281308"/>
                    <a:pt x="233159" y="309311"/>
                  </a:cubicBezTo>
                  <a:cubicBezTo>
                    <a:pt x="276631" y="337315"/>
                    <a:pt x="334572" y="324761"/>
                    <a:pt x="362575" y="281289"/>
                  </a:cubicBezTo>
                  <a:cubicBezTo>
                    <a:pt x="364194" y="278774"/>
                    <a:pt x="365690" y="276183"/>
                    <a:pt x="367062" y="273526"/>
                  </a:cubicBezTo>
                  <a:cubicBezTo>
                    <a:pt x="375386" y="259353"/>
                    <a:pt x="379701" y="243189"/>
                    <a:pt x="379539" y="226758"/>
                  </a:cubicBezTo>
                  <a:cubicBezTo>
                    <a:pt x="379492" y="175180"/>
                    <a:pt x="337772" y="133337"/>
                    <a:pt x="286194" y="133127"/>
                  </a:cubicBezTo>
                  <a:close/>
                  <a:moveTo>
                    <a:pt x="248952" y="291338"/>
                  </a:moveTo>
                  <a:cubicBezTo>
                    <a:pt x="213290" y="270716"/>
                    <a:pt x="201060" y="225120"/>
                    <a:pt x="221615" y="189420"/>
                  </a:cubicBezTo>
                  <a:cubicBezTo>
                    <a:pt x="233016" y="169065"/>
                    <a:pt x="253495" y="155425"/>
                    <a:pt x="276669" y="152749"/>
                  </a:cubicBezTo>
                  <a:lnTo>
                    <a:pt x="276669" y="226758"/>
                  </a:lnTo>
                  <a:cubicBezTo>
                    <a:pt x="276688" y="230139"/>
                    <a:pt x="278498" y="233254"/>
                    <a:pt x="281432" y="234949"/>
                  </a:cubicBezTo>
                  <a:lnTo>
                    <a:pt x="345535" y="272002"/>
                  </a:lnTo>
                  <a:cubicBezTo>
                    <a:pt x="322732" y="301739"/>
                    <a:pt x="281441" y="310006"/>
                    <a:pt x="248952" y="291338"/>
                  </a:cubicBezTo>
                  <a:close/>
                  <a:moveTo>
                    <a:pt x="355155" y="255523"/>
                  </a:moveTo>
                  <a:lnTo>
                    <a:pt x="295719" y="221234"/>
                  </a:lnTo>
                  <a:lnTo>
                    <a:pt x="295719" y="152749"/>
                  </a:lnTo>
                  <a:cubicBezTo>
                    <a:pt x="332914" y="157578"/>
                    <a:pt x="360756" y="189249"/>
                    <a:pt x="360775" y="226758"/>
                  </a:cubicBezTo>
                  <a:cubicBezTo>
                    <a:pt x="360937" y="236635"/>
                    <a:pt x="359022" y="246437"/>
                    <a:pt x="355155" y="255523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is For Office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8BE288C-5243-42FB-A597-EE8197A265D0}"/>
              </a:ext>
            </a:extLst>
          </p:cNvPr>
          <p:cNvGrpSpPr/>
          <p:nvPr/>
        </p:nvGrpSpPr>
        <p:grpSpPr>
          <a:xfrm>
            <a:off x="8977016" y="2357074"/>
            <a:ext cx="3414379" cy="2744385"/>
            <a:chOff x="5756865" y="1658790"/>
            <a:chExt cx="2239439" cy="18000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4581FBF5-B5F0-4F23-A826-92DD3876B46B}"/>
                </a:ext>
              </a:extLst>
            </p:cNvPr>
            <p:cNvSpPr/>
            <p:nvPr/>
          </p:nvSpPr>
          <p:spPr>
            <a:xfrm>
              <a:off x="5980191" y="1658790"/>
              <a:ext cx="1800000" cy="1800000"/>
            </a:xfrm>
            <a:prstGeom prst="ellipse">
              <a:avLst/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/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2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is For Office"/>
                <a:ea typeface="+mn-ea"/>
                <a:cs typeface="+mn-c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57C77B5-E6CD-468D-949B-822700068B48}"/>
                </a:ext>
              </a:extLst>
            </p:cNvPr>
            <p:cNvSpPr txBox="1"/>
            <p:nvPr/>
          </p:nvSpPr>
          <p:spPr>
            <a:xfrm>
              <a:off x="5756865" y="1968820"/>
              <a:ext cx="2239439" cy="1137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36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5867" b="0" i="0" u="none" strike="noStrike" kern="1200" cap="none" spc="0" normalizeH="0" baseline="0" noProof="0">
                  <a:ln>
                    <a:noFill/>
                  </a:ln>
                  <a:solidFill>
                    <a:srgbClr val="005AD2"/>
                  </a:solidFill>
                  <a:effectLst/>
                  <a:uLnTx/>
                  <a:uFillTx/>
                  <a:latin typeface="Apis For Office"/>
                  <a:ea typeface="Apis Black" panose="020B0A04010101010104" pitchFamily="34" charset="0"/>
                  <a:cs typeface="Apis Black" panose="020B0A04010101010104" pitchFamily="34" charset="0"/>
                </a:rPr>
                <a:t>1,025</a:t>
              </a:r>
              <a:br>
                <a:rPr kumimoji="0" lang="en-GB" sz="5333" b="1" i="0" u="none" strike="noStrike" kern="1200" cap="none" spc="0" normalizeH="0" baseline="0" noProof="0">
                  <a:ln>
                    <a:noFill/>
                  </a:ln>
                  <a:solidFill>
                    <a:srgbClr val="009FDA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</a:b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million people </a:t>
              </a:r>
              <a:b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</a:b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predicted to have </a:t>
              </a: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5AD2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obesity</a:t>
              </a: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005AD2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 </a:t>
              </a:r>
              <a:b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005AD2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</a:b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by 2030</a:t>
              </a:r>
              <a:r>
                <a:rPr kumimoji="0" lang="en-GB" sz="1600" b="0" i="0" u="none" strike="noStrike" kern="1200" cap="none" spc="0" normalizeH="0" baseline="30000" noProof="0">
                  <a:ln>
                    <a:noFill/>
                  </a:ln>
                  <a:solidFill>
                    <a:srgbClr val="001965"/>
                  </a:solidFill>
                  <a:effectLst/>
                  <a:uLnTx/>
                  <a:uFillTx/>
                  <a:latin typeface="Apis For Office"/>
                  <a:ea typeface="+mn-ea"/>
                  <a:cs typeface="+mn-cs"/>
                </a:rPr>
                <a:t>4</a:t>
              </a:r>
            </a:p>
          </p:txBody>
        </p:sp>
      </p:grpSp>
      <p:sp>
        <p:nvSpPr>
          <p:cNvPr id="10" name="Graphic 27">
            <a:extLst>
              <a:ext uri="{FF2B5EF4-FFF2-40B4-BE49-F238E27FC236}">
                <a16:creationId xmlns:a16="http://schemas.microsoft.com/office/drawing/2014/main" id="{22CE44BB-C0FF-8E6F-66B1-6A2F5AB5F084}"/>
              </a:ext>
            </a:extLst>
          </p:cNvPr>
          <p:cNvSpPr/>
          <p:nvPr/>
        </p:nvSpPr>
        <p:spPr>
          <a:xfrm>
            <a:off x="8920330" y="1856280"/>
            <a:ext cx="723458" cy="958546"/>
          </a:xfrm>
          <a:custGeom>
            <a:avLst/>
            <a:gdLst>
              <a:gd name="connsiteX0" fmla="*/ 137313 w 337378"/>
              <a:gd name="connsiteY0" fmla="*/ 130360 h 447008"/>
              <a:gd name="connsiteX1" fmla="*/ 137313 w 337378"/>
              <a:gd name="connsiteY1" fmla="*/ 298857 h 447008"/>
              <a:gd name="connsiteX2" fmla="*/ 116101 w 337378"/>
              <a:gd name="connsiteY2" fmla="*/ 318777 h 447008"/>
              <a:gd name="connsiteX3" fmla="*/ 115787 w 337378"/>
              <a:gd name="connsiteY3" fmla="*/ 318765 h 447008"/>
              <a:gd name="connsiteX4" fmla="*/ 95975 w 337378"/>
              <a:gd name="connsiteY4" fmla="*/ 318765 h 447008"/>
              <a:gd name="connsiteX5" fmla="*/ 95975 w 337378"/>
              <a:gd name="connsiteY5" fmla="*/ 437446 h 447008"/>
              <a:gd name="connsiteX6" fmla="*/ 86450 w 337378"/>
              <a:gd name="connsiteY6" fmla="*/ 446971 h 447008"/>
              <a:gd name="connsiteX7" fmla="*/ 76925 w 337378"/>
              <a:gd name="connsiteY7" fmla="*/ 437446 h 447008"/>
              <a:gd name="connsiteX8" fmla="*/ 76925 w 337378"/>
              <a:gd name="connsiteY8" fmla="*/ 299715 h 447008"/>
              <a:gd name="connsiteX9" fmla="*/ 115787 w 337378"/>
              <a:gd name="connsiteY9" fmla="*/ 299715 h 447008"/>
              <a:gd name="connsiteX10" fmla="*/ 118073 w 337378"/>
              <a:gd name="connsiteY10" fmla="*/ 298857 h 447008"/>
              <a:gd name="connsiteX11" fmla="*/ 118073 w 337378"/>
              <a:gd name="connsiteY11" fmla="*/ 130360 h 447008"/>
              <a:gd name="connsiteX12" fmla="*/ 115882 w 337378"/>
              <a:gd name="connsiteY12" fmla="*/ 129693 h 447008"/>
              <a:gd name="connsiteX13" fmla="*/ 21299 w 337378"/>
              <a:gd name="connsiteY13" fmla="*/ 129693 h 447008"/>
              <a:gd name="connsiteX14" fmla="*/ 19013 w 337378"/>
              <a:gd name="connsiteY14" fmla="*/ 130551 h 447008"/>
              <a:gd name="connsiteX15" fmla="*/ 19013 w 337378"/>
              <a:gd name="connsiteY15" fmla="*/ 298857 h 447008"/>
              <a:gd name="connsiteX16" fmla="*/ 21299 w 337378"/>
              <a:gd name="connsiteY16" fmla="*/ 299524 h 447008"/>
              <a:gd name="connsiteX17" fmla="*/ 60066 w 337378"/>
              <a:gd name="connsiteY17" fmla="*/ 299524 h 447008"/>
              <a:gd name="connsiteX18" fmla="*/ 60066 w 337378"/>
              <a:gd name="connsiteY18" fmla="*/ 437446 h 447008"/>
              <a:gd name="connsiteX19" fmla="*/ 50541 w 337378"/>
              <a:gd name="connsiteY19" fmla="*/ 446971 h 447008"/>
              <a:gd name="connsiteX20" fmla="*/ 41016 w 337378"/>
              <a:gd name="connsiteY20" fmla="*/ 437446 h 447008"/>
              <a:gd name="connsiteX21" fmla="*/ 41016 w 337378"/>
              <a:gd name="connsiteY21" fmla="*/ 318765 h 447008"/>
              <a:gd name="connsiteX22" fmla="*/ 21299 w 337378"/>
              <a:gd name="connsiteY22" fmla="*/ 318765 h 447008"/>
              <a:gd name="connsiteX23" fmla="*/ -37 w 337378"/>
              <a:gd name="connsiteY23" fmla="*/ 299048 h 447008"/>
              <a:gd name="connsiteX24" fmla="*/ -37 w 337378"/>
              <a:gd name="connsiteY24" fmla="*/ 130360 h 447008"/>
              <a:gd name="connsiteX25" fmla="*/ 21299 w 337378"/>
              <a:gd name="connsiteY25" fmla="*/ 110643 h 447008"/>
              <a:gd name="connsiteX26" fmla="*/ 115882 w 337378"/>
              <a:gd name="connsiteY26" fmla="*/ 110643 h 447008"/>
              <a:gd name="connsiteX27" fmla="*/ 137313 w 337378"/>
              <a:gd name="connsiteY27" fmla="*/ 130325 h 447008"/>
              <a:gd name="connsiteX28" fmla="*/ 137313 w 337378"/>
              <a:gd name="connsiteY28" fmla="*/ 130360 h 447008"/>
              <a:gd name="connsiteX29" fmla="*/ 24918 w 337378"/>
              <a:gd name="connsiteY29" fmla="*/ 43587 h 447008"/>
              <a:gd name="connsiteX30" fmla="*/ 68543 w 337378"/>
              <a:gd name="connsiteY30" fmla="*/ -37 h 447008"/>
              <a:gd name="connsiteX31" fmla="*/ 112167 w 337378"/>
              <a:gd name="connsiteY31" fmla="*/ 43587 h 447008"/>
              <a:gd name="connsiteX32" fmla="*/ 68543 w 337378"/>
              <a:gd name="connsiteY32" fmla="*/ 87212 h 447008"/>
              <a:gd name="connsiteX33" fmla="*/ 68448 w 337378"/>
              <a:gd name="connsiteY33" fmla="*/ 87212 h 447008"/>
              <a:gd name="connsiteX34" fmla="*/ 24918 w 337378"/>
              <a:gd name="connsiteY34" fmla="*/ 43587 h 447008"/>
              <a:gd name="connsiteX35" fmla="*/ 43968 w 337378"/>
              <a:gd name="connsiteY35" fmla="*/ 43587 h 447008"/>
              <a:gd name="connsiteX36" fmla="*/ 68448 w 337378"/>
              <a:gd name="connsiteY36" fmla="*/ 68257 h 447008"/>
              <a:gd name="connsiteX37" fmla="*/ 93117 w 337378"/>
              <a:gd name="connsiteY37" fmla="*/ 43778 h 447008"/>
              <a:gd name="connsiteX38" fmla="*/ 68638 w 337378"/>
              <a:gd name="connsiteY38" fmla="*/ 19108 h 447008"/>
              <a:gd name="connsiteX39" fmla="*/ 68448 w 337378"/>
              <a:gd name="connsiteY39" fmla="*/ 19108 h 447008"/>
              <a:gd name="connsiteX40" fmla="*/ 43968 w 337378"/>
              <a:gd name="connsiteY40" fmla="*/ 43587 h 447008"/>
              <a:gd name="connsiteX41" fmla="*/ 337338 w 337378"/>
              <a:gd name="connsiteY41" fmla="*/ 187986 h 447008"/>
              <a:gd name="connsiteX42" fmla="*/ 337338 w 337378"/>
              <a:gd name="connsiteY42" fmla="*/ 203512 h 447008"/>
              <a:gd name="connsiteX43" fmla="*/ 323622 w 337378"/>
              <a:gd name="connsiteY43" fmla="*/ 217608 h 447008"/>
              <a:gd name="connsiteX44" fmla="*/ 323527 w 337378"/>
              <a:gd name="connsiteY44" fmla="*/ 217609 h 447008"/>
              <a:gd name="connsiteX45" fmla="*/ 257805 w 337378"/>
              <a:gd name="connsiteY45" fmla="*/ 217609 h 447008"/>
              <a:gd name="connsiteX46" fmla="*/ 257805 w 337378"/>
              <a:gd name="connsiteY46" fmla="*/ 352388 h 447008"/>
              <a:gd name="connsiteX47" fmla="*/ 318288 w 337378"/>
              <a:gd name="connsiteY47" fmla="*/ 352388 h 447008"/>
              <a:gd name="connsiteX48" fmla="*/ 327813 w 337378"/>
              <a:gd name="connsiteY48" fmla="*/ 361913 h 447008"/>
              <a:gd name="connsiteX49" fmla="*/ 318288 w 337378"/>
              <a:gd name="connsiteY49" fmla="*/ 371438 h 447008"/>
              <a:gd name="connsiteX50" fmla="*/ 179223 w 337378"/>
              <a:gd name="connsiteY50" fmla="*/ 371438 h 447008"/>
              <a:gd name="connsiteX51" fmla="*/ 169698 w 337378"/>
              <a:gd name="connsiteY51" fmla="*/ 361913 h 447008"/>
              <a:gd name="connsiteX52" fmla="*/ 179223 w 337378"/>
              <a:gd name="connsiteY52" fmla="*/ 352388 h 447008"/>
              <a:gd name="connsiteX53" fmla="*/ 239231 w 337378"/>
              <a:gd name="connsiteY53" fmla="*/ 352388 h 447008"/>
              <a:gd name="connsiteX54" fmla="*/ 239231 w 337378"/>
              <a:gd name="connsiteY54" fmla="*/ 217609 h 447008"/>
              <a:gd name="connsiteX55" fmla="*/ 173413 w 337378"/>
              <a:gd name="connsiteY55" fmla="*/ 217609 h 447008"/>
              <a:gd name="connsiteX56" fmla="*/ 159602 w 337378"/>
              <a:gd name="connsiteY56" fmla="*/ 203609 h 447008"/>
              <a:gd name="connsiteX57" fmla="*/ 159602 w 337378"/>
              <a:gd name="connsiteY57" fmla="*/ 203512 h 447008"/>
              <a:gd name="connsiteX58" fmla="*/ 159602 w 337378"/>
              <a:gd name="connsiteY58" fmla="*/ 187986 h 447008"/>
              <a:gd name="connsiteX59" fmla="*/ 173413 w 337378"/>
              <a:gd name="connsiteY59" fmla="*/ 173794 h 447008"/>
              <a:gd name="connsiteX60" fmla="*/ 173413 w 337378"/>
              <a:gd name="connsiteY60" fmla="*/ 173794 h 447008"/>
              <a:gd name="connsiteX61" fmla="*/ 318288 w 337378"/>
              <a:gd name="connsiteY61" fmla="*/ 173794 h 447008"/>
              <a:gd name="connsiteX62" fmla="*/ 318288 w 337378"/>
              <a:gd name="connsiteY62" fmla="*/ 152458 h 447008"/>
              <a:gd name="connsiteX63" fmla="*/ 257805 w 337378"/>
              <a:gd name="connsiteY63" fmla="*/ 152458 h 447008"/>
              <a:gd name="connsiteX64" fmla="*/ 257805 w 337378"/>
              <a:gd name="connsiteY64" fmla="*/ 155316 h 447008"/>
              <a:gd name="connsiteX65" fmla="*/ 248280 w 337378"/>
              <a:gd name="connsiteY65" fmla="*/ 164841 h 447008"/>
              <a:gd name="connsiteX66" fmla="*/ 238755 w 337378"/>
              <a:gd name="connsiteY66" fmla="*/ 155316 h 447008"/>
              <a:gd name="connsiteX67" fmla="*/ 238755 w 337378"/>
              <a:gd name="connsiteY67" fmla="*/ 152458 h 447008"/>
              <a:gd name="connsiteX68" fmla="*/ 226087 w 337378"/>
              <a:gd name="connsiteY68" fmla="*/ 152458 h 447008"/>
              <a:gd name="connsiteX69" fmla="*/ 211609 w 337378"/>
              <a:gd name="connsiteY69" fmla="*/ 164650 h 447008"/>
              <a:gd name="connsiteX70" fmla="*/ 185319 w 337378"/>
              <a:gd name="connsiteY70" fmla="*/ 164650 h 447008"/>
              <a:gd name="connsiteX71" fmla="*/ 170842 w 337378"/>
              <a:gd name="connsiteY71" fmla="*/ 152458 h 447008"/>
              <a:gd name="connsiteX72" fmla="*/ 161983 w 337378"/>
              <a:gd name="connsiteY72" fmla="*/ 152458 h 447008"/>
              <a:gd name="connsiteX73" fmla="*/ 152458 w 337378"/>
              <a:gd name="connsiteY73" fmla="*/ 142933 h 447008"/>
              <a:gd name="connsiteX74" fmla="*/ 161983 w 337378"/>
              <a:gd name="connsiteY74" fmla="*/ 133408 h 447008"/>
              <a:gd name="connsiteX75" fmla="*/ 170842 w 337378"/>
              <a:gd name="connsiteY75" fmla="*/ 133408 h 447008"/>
              <a:gd name="connsiteX76" fmla="*/ 185319 w 337378"/>
              <a:gd name="connsiteY76" fmla="*/ 121311 h 447008"/>
              <a:gd name="connsiteX77" fmla="*/ 211609 w 337378"/>
              <a:gd name="connsiteY77" fmla="*/ 121311 h 447008"/>
              <a:gd name="connsiteX78" fmla="*/ 226087 w 337378"/>
              <a:gd name="connsiteY78" fmla="*/ 133408 h 447008"/>
              <a:gd name="connsiteX79" fmla="*/ 238755 w 337378"/>
              <a:gd name="connsiteY79" fmla="*/ 133408 h 447008"/>
              <a:gd name="connsiteX80" fmla="*/ 238755 w 337378"/>
              <a:gd name="connsiteY80" fmla="*/ 132646 h 447008"/>
              <a:gd name="connsiteX81" fmla="*/ 248280 w 337378"/>
              <a:gd name="connsiteY81" fmla="*/ 123121 h 447008"/>
              <a:gd name="connsiteX82" fmla="*/ 257805 w 337378"/>
              <a:gd name="connsiteY82" fmla="*/ 132646 h 447008"/>
              <a:gd name="connsiteX83" fmla="*/ 257805 w 337378"/>
              <a:gd name="connsiteY83" fmla="*/ 133408 h 447008"/>
              <a:gd name="connsiteX84" fmla="*/ 321527 w 337378"/>
              <a:gd name="connsiteY84" fmla="*/ 133408 h 447008"/>
              <a:gd name="connsiteX85" fmla="*/ 337338 w 337378"/>
              <a:gd name="connsiteY85" fmla="*/ 149886 h 447008"/>
              <a:gd name="connsiteX86" fmla="*/ 337338 w 337378"/>
              <a:gd name="connsiteY86" fmla="*/ 187986 h 447008"/>
              <a:gd name="connsiteX87" fmla="*/ 207798 w 337378"/>
              <a:gd name="connsiteY87" fmla="*/ 140361 h 447008"/>
              <a:gd name="connsiteX88" fmla="*/ 188748 w 337378"/>
              <a:gd name="connsiteY88" fmla="*/ 140361 h 447008"/>
              <a:gd name="connsiteX89" fmla="*/ 188748 w 337378"/>
              <a:gd name="connsiteY89" fmla="*/ 145600 h 447008"/>
              <a:gd name="connsiteX90" fmla="*/ 207798 w 337378"/>
              <a:gd name="connsiteY90" fmla="*/ 145600 h 447008"/>
              <a:gd name="connsiteX91" fmla="*/ 318288 w 337378"/>
              <a:gd name="connsiteY91" fmla="*/ 192844 h 447008"/>
              <a:gd name="connsiteX92" fmla="*/ 178557 w 337378"/>
              <a:gd name="connsiteY92" fmla="*/ 192844 h 447008"/>
              <a:gd name="connsiteX93" fmla="*/ 178557 w 337378"/>
              <a:gd name="connsiteY93" fmla="*/ 198559 h 447008"/>
              <a:gd name="connsiteX94" fmla="*/ 318288 w 337378"/>
              <a:gd name="connsiteY94" fmla="*/ 198559 h 447008"/>
              <a:gd name="connsiteX95" fmla="*/ 332100 w 337378"/>
              <a:gd name="connsiteY95" fmla="*/ 393822 h 447008"/>
              <a:gd name="connsiteX96" fmla="*/ 332100 w 337378"/>
              <a:gd name="connsiteY96" fmla="*/ 409252 h 447008"/>
              <a:gd name="connsiteX97" fmla="*/ 318955 w 337378"/>
              <a:gd name="connsiteY97" fmla="*/ 423540 h 447008"/>
              <a:gd name="connsiteX98" fmla="*/ 178271 w 337378"/>
              <a:gd name="connsiteY98" fmla="*/ 423540 h 447008"/>
              <a:gd name="connsiteX99" fmla="*/ 164746 w 337378"/>
              <a:gd name="connsiteY99" fmla="*/ 409347 h 447008"/>
              <a:gd name="connsiteX100" fmla="*/ 164746 w 337378"/>
              <a:gd name="connsiteY100" fmla="*/ 393822 h 447008"/>
              <a:gd name="connsiteX101" fmla="*/ 178271 w 337378"/>
              <a:gd name="connsiteY101" fmla="*/ 379629 h 447008"/>
              <a:gd name="connsiteX102" fmla="*/ 318955 w 337378"/>
              <a:gd name="connsiteY102" fmla="*/ 379629 h 447008"/>
              <a:gd name="connsiteX103" fmla="*/ 332481 w 337378"/>
              <a:gd name="connsiteY103" fmla="*/ 393822 h 447008"/>
              <a:gd name="connsiteX104" fmla="*/ 313050 w 337378"/>
              <a:gd name="connsiteY104" fmla="*/ 398679 h 447008"/>
              <a:gd name="connsiteX105" fmla="*/ 183796 w 337378"/>
              <a:gd name="connsiteY105" fmla="*/ 398679 h 447008"/>
              <a:gd name="connsiteX106" fmla="*/ 183796 w 337378"/>
              <a:gd name="connsiteY106" fmla="*/ 404490 h 447008"/>
              <a:gd name="connsiteX107" fmla="*/ 313431 w 337378"/>
              <a:gd name="connsiteY107" fmla="*/ 404490 h 4470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37378" h="447008">
                <a:moveTo>
                  <a:pt x="137313" y="130360"/>
                </a:moveTo>
                <a:lnTo>
                  <a:pt x="137313" y="298857"/>
                </a:lnTo>
                <a:cubicBezTo>
                  <a:pt x="136961" y="310215"/>
                  <a:pt x="127465" y="319133"/>
                  <a:pt x="116101" y="318777"/>
                </a:cubicBezTo>
                <a:cubicBezTo>
                  <a:pt x="115996" y="318774"/>
                  <a:pt x="115892" y="318769"/>
                  <a:pt x="115787" y="318765"/>
                </a:cubicBezTo>
                <a:lnTo>
                  <a:pt x="95975" y="318765"/>
                </a:lnTo>
                <a:lnTo>
                  <a:pt x="95975" y="437446"/>
                </a:lnTo>
                <a:cubicBezTo>
                  <a:pt x="95975" y="442707"/>
                  <a:pt x="91708" y="446971"/>
                  <a:pt x="86450" y="446971"/>
                </a:cubicBezTo>
                <a:cubicBezTo>
                  <a:pt x="81192" y="446971"/>
                  <a:pt x="76925" y="442707"/>
                  <a:pt x="76925" y="437446"/>
                </a:cubicBezTo>
                <a:lnTo>
                  <a:pt x="76925" y="299715"/>
                </a:lnTo>
                <a:lnTo>
                  <a:pt x="115787" y="299715"/>
                </a:lnTo>
                <a:cubicBezTo>
                  <a:pt x="116644" y="299815"/>
                  <a:pt x="117492" y="299495"/>
                  <a:pt x="118073" y="298857"/>
                </a:cubicBezTo>
                <a:lnTo>
                  <a:pt x="118073" y="130360"/>
                </a:lnTo>
                <a:cubicBezTo>
                  <a:pt x="117425" y="129918"/>
                  <a:pt x="116663" y="129686"/>
                  <a:pt x="115882" y="129693"/>
                </a:cubicBezTo>
                <a:lnTo>
                  <a:pt x="21299" y="129693"/>
                </a:lnTo>
                <a:cubicBezTo>
                  <a:pt x="20451" y="129623"/>
                  <a:pt x="19613" y="129937"/>
                  <a:pt x="19013" y="130551"/>
                </a:cubicBezTo>
                <a:lnTo>
                  <a:pt x="19013" y="298857"/>
                </a:lnTo>
                <a:cubicBezTo>
                  <a:pt x="19670" y="299338"/>
                  <a:pt x="20480" y="299574"/>
                  <a:pt x="21299" y="299524"/>
                </a:cubicBezTo>
                <a:lnTo>
                  <a:pt x="60066" y="299524"/>
                </a:lnTo>
                <a:lnTo>
                  <a:pt x="60066" y="437446"/>
                </a:lnTo>
                <a:cubicBezTo>
                  <a:pt x="60066" y="442707"/>
                  <a:pt x="55799" y="446971"/>
                  <a:pt x="50541" y="446971"/>
                </a:cubicBezTo>
                <a:cubicBezTo>
                  <a:pt x="45283" y="446971"/>
                  <a:pt x="41016" y="442707"/>
                  <a:pt x="41016" y="437446"/>
                </a:cubicBezTo>
                <a:lnTo>
                  <a:pt x="41016" y="318765"/>
                </a:lnTo>
                <a:lnTo>
                  <a:pt x="21299" y="318765"/>
                </a:lnTo>
                <a:cubicBezTo>
                  <a:pt x="9974" y="319194"/>
                  <a:pt x="430" y="310376"/>
                  <a:pt x="-37" y="299048"/>
                </a:cubicBezTo>
                <a:lnTo>
                  <a:pt x="-37" y="130360"/>
                </a:lnTo>
                <a:cubicBezTo>
                  <a:pt x="430" y="119032"/>
                  <a:pt x="9974" y="110214"/>
                  <a:pt x="21299" y="110643"/>
                </a:cubicBezTo>
                <a:lnTo>
                  <a:pt x="115882" y="110643"/>
                </a:lnTo>
                <a:cubicBezTo>
                  <a:pt x="127236" y="110160"/>
                  <a:pt x="136828" y="118972"/>
                  <a:pt x="137313" y="130325"/>
                </a:cubicBezTo>
                <a:cubicBezTo>
                  <a:pt x="137313" y="130336"/>
                  <a:pt x="137313" y="130349"/>
                  <a:pt x="137313" y="130360"/>
                </a:cubicBezTo>
                <a:close/>
                <a:moveTo>
                  <a:pt x="24918" y="43587"/>
                </a:moveTo>
                <a:cubicBezTo>
                  <a:pt x="24918" y="19494"/>
                  <a:pt x="44454" y="-37"/>
                  <a:pt x="68543" y="-37"/>
                </a:cubicBezTo>
                <a:cubicBezTo>
                  <a:pt x="92632" y="-37"/>
                  <a:pt x="112167" y="19495"/>
                  <a:pt x="112167" y="43587"/>
                </a:cubicBezTo>
                <a:cubicBezTo>
                  <a:pt x="112167" y="67681"/>
                  <a:pt x="92632" y="87212"/>
                  <a:pt x="68543" y="87212"/>
                </a:cubicBezTo>
                <a:cubicBezTo>
                  <a:pt x="68514" y="87212"/>
                  <a:pt x="68476" y="87212"/>
                  <a:pt x="68448" y="87212"/>
                </a:cubicBezTo>
                <a:cubicBezTo>
                  <a:pt x="44388" y="87159"/>
                  <a:pt x="24918" y="67644"/>
                  <a:pt x="24918" y="43587"/>
                </a:cubicBezTo>
                <a:close/>
                <a:moveTo>
                  <a:pt x="43968" y="43587"/>
                </a:moveTo>
                <a:cubicBezTo>
                  <a:pt x="43911" y="57159"/>
                  <a:pt x="54875" y="68205"/>
                  <a:pt x="68448" y="68257"/>
                </a:cubicBezTo>
                <a:cubicBezTo>
                  <a:pt x="82021" y="68309"/>
                  <a:pt x="93060" y="57349"/>
                  <a:pt x="93117" y="43778"/>
                </a:cubicBezTo>
                <a:cubicBezTo>
                  <a:pt x="93165" y="30206"/>
                  <a:pt x="82211" y="19160"/>
                  <a:pt x="68638" y="19108"/>
                </a:cubicBezTo>
                <a:cubicBezTo>
                  <a:pt x="68572" y="19108"/>
                  <a:pt x="68514" y="19108"/>
                  <a:pt x="68448" y="19108"/>
                </a:cubicBezTo>
                <a:cubicBezTo>
                  <a:pt x="54951" y="19160"/>
                  <a:pt x="44016" y="30089"/>
                  <a:pt x="43968" y="43587"/>
                </a:cubicBezTo>
                <a:close/>
                <a:moveTo>
                  <a:pt x="337338" y="187986"/>
                </a:moveTo>
                <a:lnTo>
                  <a:pt x="337338" y="203512"/>
                </a:lnTo>
                <a:cubicBezTo>
                  <a:pt x="337443" y="211192"/>
                  <a:pt x="331300" y="217502"/>
                  <a:pt x="323622" y="217608"/>
                </a:cubicBezTo>
                <a:cubicBezTo>
                  <a:pt x="323594" y="217608"/>
                  <a:pt x="323556" y="217609"/>
                  <a:pt x="323527" y="217609"/>
                </a:cubicBezTo>
                <a:lnTo>
                  <a:pt x="257805" y="217609"/>
                </a:lnTo>
                <a:lnTo>
                  <a:pt x="257805" y="352388"/>
                </a:lnTo>
                <a:lnTo>
                  <a:pt x="318288" y="352388"/>
                </a:lnTo>
                <a:cubicBezTo>
                  <a:pt x="323546" y="352388"/>
                  <a:pt x="327813" y="356652"/>
                  <a:pt x="327813" y="361913"/>
                </a:cubicBezTo>
                <a:cubicBezTo>
                  <a:pt x="327813" y="367173"/>
                  <a:pt x="323546" y="371438"/>
                  <a:pt x="318288" y="371438"/>
                </a:cubicBezTo>
                <a:lnTo>
                  <a:pt x="179223" y="371438"/>
                </a:lnTo>
                <a:cubicBezTo>
                  <a:pt x="173966" y="371438"/>
                  <a:pt x="169698" y="367173"/>
                  <a:pt x="169698" y="361913"/>
                </a:cubicBezTo>
                <a:cubicBezTo>
                  <a:pt x="169698" y="356652"/>
                  <a:pt x="173966" y="352388"/>
                  <a:pt x="179223" y="352388"/>
                </a:cubicBezTo>
                <a:lnTo>
                  <a:pt x="239231" y="352388"/>
                </a:lnTo>
                <a:lnTo>
                  <a:pt x="239231" y="217609"/>
                </a:lnTo>
                <a:lnTo>
                  <a:pt x="173413" y="217609"/>
                </a:lnTo>
                <a:cubicBezTo>
                  <a:pt x="165736" y="217558"/>
                  <a:pt x="159545" y="211289"/>
                  <a:pt x="159602" y="203609"/>
                </a:cubicBezTo>
                <a:cubicBezTo>
                  <a:pt x="159602" y="203577"/>
                  <a:pt x="159602" y="203544"/>
                  <a:pt x="159602" y="203512"/>
                </a:cubicBezTo>
                <a:lnTo>
                  <a:pt x="159602" y="187986"/>
                </a:lnTo>
                <a:cubicBezTo>
                  <a:pt x="159497" y="180254"/>
                  <a:pt x="165679" y="173900"/>
                  <a:pt x="173413" y="173794"/>
                </a:cubicBezTo>
                <a:cubicBezTo>
                  <a:pt x="173413" y="173794"/>
                  <a:pt x="173413" y="173794"/>
                  <a:pt x="173413" y="173794"/>
                </a:cubicBezTo>
                <a:lnTo>
                  <a:pt x="318288" y="173794"/>
                </a:lnTo>
                <a:lnTo>
                  <a:pt x="318288" y="152458"/>
                </a:lnTo>
                <a:lnTo>
                  <a:pt x="257805" y="152458"/>
                </a:lnTo>
                <a:lnTo>
                  <a:pt x="257805" y="155316"/>
                </a:lnTo>
                <a:cubicBezTo>
                  <a:pt x="257805" y="160576"/>
                  <a:pt x="253538" y="164841"/>
                  <a:pt x="248280" y="164841"/>
                </a:cubicBezTo>
                <a:cubicBezTo>
                  <a:pt x="243022" y="164841"/>
                  <a:pt x="238755" y="160576"/>
                  <a:pt x="238755" y="155316"/>
                </a:cubicBezTo>
                <a:lnTo>
                  <a:pt x="238755" y="152458"/>
                </a:lnTo>
                <a:lnTo>
                  <a:pt x="226087" y="152458"/>
                </a:lnTo>
                <a:cubicBezTo>
                  <a:pt x="224581" y="159334"/>
                  <a:pt x="218638" y="164338"/>
                  <a:pt x="211609" y="164650"/>
                </a:cubicBezTo>
                <a:lnTo>
                  <a:pt x="185319" y="164650"/>
                </a:lnTo>
                <a:cubicBezTo>
                  <a:pt x="178290" y="164338"/>
                  <a:pt x="172346" y="159334"/>
                  <a:pt x="170842" y="152458"/>
                </a:cubicBezTo>
                <a:lnTo>
                  <a:pt x="161983" y="152458"/>
                </a:lnTo>
                <a:cubicBezTo>
                  <a:pt x="156725" y="152458"/>
                  <a:pt x="152458" y="148194"/>
                  <a:pt x="152458" y="142933"/>
                </a:cubicBezTo>
                <a:cubicBezTo>
                  <a:pt x="152458" y="137672"/>
                  <a:pt x="156725" y="133408"/>
                  <a:pt x="161983" y="133408"/>
                </a:cubicBezTo>
                <a:lnTo>
                  <a:pt x="170842" y="133408"/>
                </a:lnTo>
                <a:cubicBezTo>
                  <a:pt x="172385" y="126570"/>
                  <a:pt x="178319" y="121612"/>
                  <a:pt x="185319" y="121311"/>
                </a:cubicBezTo>
                <a:lnTo>
                  <a:pt x="211609" y="121311"/>
                </a:lnTo>
                <a:cubicBezTo>
                  <a:pt x="218609" y="121612"/>
                  <a:pt x="224543" y="126570"/>
                  <a:pt x="226087" y="133408"/>
                </a:cubicBezTo>
                <a:lnTo>
                  <a:pt x="238755" y="133408"/>
                </a:lnTo>
                <a:lnTo>
                  <a:pt x="238755" y="132646"/>
                </a:lnTo>
                <a:cubicBezTo>
                  <a:pt x="238755" y="127385"/>
                  <a:pt x="243022" y="123121"/>
                  <a:pt x="248280" y="123121"/>
                </a:cubicBezTo>
                <a:cubicBezTo>
                  <a:pt x="253538" y="123121"/>
                  <a:pt x="257805" y="127385"/>
                  <a:pt x="257805" y="132646"/>
                </a:cubicBezTo>
                <a:lnTo>
                  <a:pt x="257805" y="133408"/>
                </a:lnTo>
                <a:lnTo>
                  <a:pt x="321527" y="133408"/>
                </a:lnTo>
                <a:cubicBezTo>
                  <a:pt x="330433" y="133617"/>
                  <a:pt x="337500" y="140979"/>
                  <a:pt x="337338" y="149886"/>
                </a:cubicBezTo>
                <a:lnTo>
                  <a:pt x="337338" y="187986"/>
                </a:lnTo>
                <a:close/>
                <a:moveTo>
                  <a:pt x="207798" y="140361"/>
                </a:moveTo>
                <a:lnTo>
                  <a:pt x="188748" y="140361"/>
                </a:lnTo>
                <a:lnTo>
                  <a:pt x="188748" y="145600"/>
                </a:lnTo>
                <a:lnTo>
                  <a:pt x="207798" y="145600"/>
                </a:lnTo>
                <a:close/>
                <a:moveTo>
                  <a:pt x="318288" y="192844"/>
                </a:moveTo>
                <a:lnTo>
                  <a:pt x="178557" y="192844"/>
                </a:lnTo>
                <a:lnTo>
                  <a:pt x="178557" y="198559"/>
                </a:lnTo>
                <a:lnTo>
                  <a:pt x="318288" y="198559"/>
                </a:lnTo>
                <a:close/>
                <a:moveTo>
                  <a:pt x="332100" y="393822"/>
                </a:moveTo>
                <a:lnTo>
                  <a:pt x="332100" y="409252"/>
                </a:lnTo>
                <a:cubicBezTo>
                  <a:pt x="332319" y="416791"/>
                  <a:pt x="326489" y="423129"/>
                  <a:pt x="318955" y="423540"/>
                </a:cubicBezTo>
                <a:lnTo>
                  <a:pt x="178271" y="423540"/>
                </a:lnTo>
                <a:cubicBezTo>
                  <a:pt x="170632" y="423332"/>
                  <a:pt x="164584" y="416992"/>
                  <a:pt x="164746" y="409347"/>
                </a:cubicBezTo>
                <a:lnTo>
                  <a:pt x="164746" y="393822"/>
                </a:lnTo>
                <a:cubicBezTo>
                  <a:pt x="164584" y="386177"/>
                  <a:pt x="170632" y="379837"/>
                  <a:pt x="178271" y="379629"/>
                </a:cubicBezTo>
                <a:lnTo>
                  <a:pt x="318955" y="379629"/>
                </a:lnTo>
                <a:cubicBezTo>
                  <a:pt x="326594" y="379837"/>
                  <a:pt x="332643" y="386177"/>
                  <a:pt x="332481" y="393822"/>
                </a:cubicBezTo>
                <a:close/>
                <a:moveTo>
                  <a:pt x="313050" y="398679"/>
                </a:moveTo>
                <a:lnTo>
                  <a:pt x="183796" y="398679"/>
                </a:lnTo>
                <a:lnTo>
                  <a:pt x="183796" y="404490"/>
                </a:lnTo>
                <a:lnTo>
                  <a:pt x="313431" y="404490"/>
                </a:lnTo>
                <a:close/>
              </a:path>
            </a:pathLst>
          </a:custGeom>
          <a:solidFill>
            <a:schemeClr val="accent2"/>
          </a:solidFill>
          <a:ln w="19050" cap="flat">
            <a:solidFill>
              <a:schemeClr val="bg2">
                <a:lumMod val="20000"/>
                <a:lumOff val="8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B51AB0DC-3253-463A-B78B-81CA281EE06F}"/>
              </a:ext>
            </a:extLst>
          </p:cNvPr>
          <p:cNvSpPr txBox="1"/>
          <p:nvPr/>
        </p:nvSpPr>
        <p:spPr>
          <a:xfrm>
            <a:off x="0" y="6556918"/>
            <a:ext cx="121920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 Materiale destinato unicamente agli operatori sanitari. Vietata la distribuzione o l'esposizione al pubblico.</a:t>
            </a:r>
          </a:p>
        </p:txBody>
      </p:sp>
    </p:spTree>
    <p:extLst>
      <p:ext uri="{BB962C8B-B14F-4D97-AF65-F5344CB8AC3E}">
        <p14:creationId xmlns:p14="http://schemas.microsoft.com/office/powerpoint/2010/main" val="15111034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57BDDBFD-BE64-AA98-E992-7BDAD1DC04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305" y="3298723"/>
            <a:ext cx="5112774" cy="3559277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87143768-F8D8-4A57-6A36-63468B0C59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3891" y="0"/>
            <a:ext cx="7608678" cy="3184865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5700C50C-F899-A095-6DF4-154E155E05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5201" y="3629061"/>
            <a:ext cx="5230761" cy="2812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3022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9308F36D-429B-BDE1-EA28-B4F7652007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1358" y="0"/>
            <a:ext cx="8289283" cy="6858000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3AB34ABB-232B-1636-5224-81B9547E0688}"/>
              </a:ext>
            </a:extLst>
          </p:cNvPr>
          <p:cNvSpPr txBox="1"/>
          <p:nvPr/>
        </p:nvSpPr>
        <p:spPr>
          <a:xfrm>
            <a:off x="0" y="5402401"/>
            <a:ext cx="221469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212121"/>
                </a:solidFill>
                <a:effectLst/>
                <a:latin typeface="BlinkMacSystemFont"/>
              </a:rPr>
              <a:t>N </a:t>
            </a:r>
            <a:r>
              <a:rPr lang="en-US" b="0" i="0" dirty="0" err="1">
                <a:solidFill>
                  <a:srgbClr val="212121"/>
                </a:solidFill>
                <a:effectLst/>
                <a:latin typeface="BlinkMacSystemFont"/>
              </a:rPr>
              <a:t>Engl</a:t>
            </a:r>
            <a:r>
              <a:rPr lang="en-US" b="0" i="0" dirty="0">
                <a:solidFill>
                  <a:srgbClr val="212121"/>
                </a:solidFill>
                <a:effectLst/>
                <a:latin typeface="BlinkMacSystemFont"/>
              </a:rPr>
              <a:t> J Med. 2023 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BlinkMacSystemFont"/>
              </a:rPr>
              <a:t>Dec 14;389(24):</a:t>
            </a:r>
          </a:p>
          <a:p>
            <a:r>
              <a:rPr lang="en-US" b="0" i="0" dirty="0">
                <a:solidFill>
                  <a:srgbClr val="212121"/>
                </a:solidFill>
                <a:effectLst/>
                <a:latin typeface="BlinkMacSystemFont"/>
              </a:rPr>
              <a:t>2221-2232.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7554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o 14">
            <a:extLst>
              <a:ext uri="{FF2B5EF4-FFF2-40B4-BE49-F238E27FC236}">
                <a16:creationId xmlns:a16="http://schemas.microsoft.com/office/drawing/2014/main" id="{F8DF6A92-F0CC-4818-6732-B2E2B3A66D56}"/>
              </a:ext>
            </a:extLst>
          </p:cNvPr>
          <p:cNvGrpSpPr/>
          <p:nvPr/>
        </p:nvGrpSpPr>
        <p:grpSpPr>
          <a:xfrm>
            <a:off x="58723" y="880377"/>
            <a:ext cx="12330152" cy="5097244"/>
            <a:chOff x="0" y="482674"/>
            <a:chExt cx="12330152" cy="5097244"/>
          </a:xfrm>
        </p:grpSpPr>
        <p:pic>
          <p:nvPicPr>
            <p:cNvPr id="2" name="Immagine 1">
              <a:extLst>
                <a:ext uri="{FF2B5EF4-FFF2-40B4-BE49-F238E27FC236}">
                  <a16:creationId xmlns:a16="http://schemas.microsoft.com/office/drawing/2014/main" id="{0CA564A9-2AA0-1813-8CC3-6924CDBD12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230433" y="1086732"/>
              <a:ext cx="5827134" cy="4302447"/>
            </a:xfrm>
            <a:prstGeom prst="rect">
              <a:avLst/>
            </a:prstGeom>
          </p:spPr>
        </p:pic>
        <p:pic>
          <p:nvPicPr>
            <p:cNvPr id="3" name="Immagine 2">
              <a:extLst>
                <a:ext uri="{FF2B5EF4-FFF2-40B4-BE49-F238E27FC236}">
                  <a16:creationId xmlns:a16="http://schemas.microsoft.com/office/drawing/2014/main" id="{54887C72-05C3-C620-5819-10A0571640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895994"/>
              <a:ext cx="6319260" cy="4683924"/>
            </a:xfrm>
            <a:prstGeom prst="rect">
              <a:avLst/>
            </a:prstGeom>
          </p:spPr>
        </p:pic>
        <p:sp>
          <p:nvSpPr>
            <p:cNvPr id="5" name="CasellaDiTesto 4">
              <a:extLst>
                <a:ext uri="{FF2B5EF4-FFF2-40B4-BE49-F238E27FC236}">
                  <a16:creationId xmlns:a16="http://schemas.microsoft.com/office/drawing/2014/main" id="{AF26BC73-FA2E-5153-63B1-AC29B6387C2B}"/>
                </a:ext>
              </a:extLst>
            </p:cNvPr>
            <p:cNvSpPr txBox="1"/>
            <p:nvPr/>
          </p:nvSpPr>
          <p:spPr>
            <a:xfrm>
              <a:off x="464191" y="499168"/>
              <a:ext cx="3182433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1" dirty="0"/>
                <a:t>composite of death from cardiovascular causes</a:t>
              </a:r>
            </a:p>
          </p:txBody>
        </p:sp>
        <p:sp>
          <p:nvSpPr>
            <p:cNvPr id="7" name="CasellaDiTesto 6">
              <a:extLst>
                <a:ext uri="{FF2B5EF4-FFF2-40B4-BE49-F238E27FC236}">
                  <a16:creationId xmlns:a16="http://schemas.microsoft.com/office/drawing/2014/main" id="{432BB52B-3E49-63BB-F577-5920838DECBF}"/>
                </a:ext>
              </a:extLst>
            </p:cNvPr>
            <p:cNvSpPr txBox="1"/>
            <p:nvPr/>
          </p:nvSpPr>
          <p:spPr>
            <a:xfrm>
              <a:off x="4280482" y="507557"/>
              <a:ext cx="188542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1" dirty="0"/>
                <a:t>cardiovascular death</a:t>
              </a:r>
            </a:p>
          </p:txBody>
        </p:sp>
        <p:sp>
          <p:nvSpPr>
            <p:cNvPr id="9" name="CasellaDiTesto 8">
              <a:extLst>
                <a:ext uri="{FF2B5EF4-FFF2-40B4-BE49-F238E27FC236}">
                  <a16:creationId xmlns:a16="http://schemas.microsoft.com/office/drawing/2014/main" id="{053C3B60-8F5A-5318-C0C8-3A9BF6663EA3}"/>
                </a:ext>
              </a:extLst>
            </p:cNvPr>
            <p:cNvSpPr txBox="1"/>
            <p:nvPr/>
          </p:nvSpPr>
          <p:spPr>
            <a:xfrm>
              <a:off x="1159778" y="3152001"/>
              <a:ext cx="218742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1" dirty="0"/>
                <a:t>myocardial infarction</a:t>
              </a:r>
            </a:p>
          </p:txBody>
        </p:sp>
        <p:sp>
          <p:nvSpPr>
            <p:cNvPr id="10" name="CasellaDiTesto 9">
              <a:extLst>
                <a:ext uri="{FF2B5EF4-FFF2-40B4-BE49-F238E27FC236}">
                  <a16:creationId xmlns:a16="http://schemas.microsoft.com/office/drawing/2014/main" id="{9381C0AF-AE3F-E54D-C782-F518735678F0}"/>
                </a:ext>
              </a:extLst>
            </p:cNvPr>
            <p:cNvSpPr txBox="1"/>
            <p:nvPr/>
          </p:nvSpPr>
          <p:spPr>
            <a:xfrm>
              <a:off x="4794561" y="3152001"/>
              <a:ext cx="218742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1" dirty="0"/>
                <a:t>stroke</a:t>
              </a:r>
            </a:p>
          </p:txBody>
        </p:sp>
        <p:sp>
          <p:nvSpPr>
            <p:cNvPr id="11" name="CasellaDiTesto 10">
              <a:extLst>
                <a:ext uri="{FF2B5EF4-FFF2-40B4-BE49-F238E27FC236}">
                  <a16:creationId xmlns:a16="http://schemas.microsoft.com/office/drawing/2014/main" id="{69F8DF5B-340C-0FB3-103E-17DAE992CB38}"/>
                </a:ext>
              </a:extLst>
            </p:cNvPr>
            <p:cNvSpPr txBox="1"/>
            <p:nvPr/>
          </p:nvSpPr>
          <p:spPr>
            <a:xfrm>
              <a:off x="7885652" y="520326"/>
              <a:ext cx="5373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200" b="1" dirty="0"/>
                <a:t>HbA1</a:t>
              </a:r>
              <a:endParaRPr lang="en-US" sz="1200" b="1" dirty="0"/>
            </a:p>
          </p:txBody>
        </p:sp>
        <p:sp>
          <p:nvSpPr>
            <p:cNvPr id="12" name="CasellaDiTesto 11">
              <a:extLst>
                <a:ext uri="{FF2B5EF4-FFF2-40B4-BE49-F238E27FC236}">
                  <a16:creationId xmlns:a16="http://schemas.microsoft.com/office/drawing/2014/main" id="{AEC277F8-50D0-9DBF-EDA9-E1F58C437185}"/>
                </a:ext>
              </a:extLst>
            </p:cNvPr>
            <p:cNvSpPr txBox="1"/>
            <p:nvPr/>
          </p:nvSpPr>
          <p:spPr>
            <a:xfrm>
              <a:off x="10142723" y="482674"/>
              <a:ext cx="218742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1" dirty="0"/>
                <a:t>body weight</a:t>
              </a:r>
            </a:p>
          </p:txBody>
        </p:sp>
        <p:sp>
          <p:nvSpPr>
            <p:cNvPr id="13" name="CasellaDiTesto 12">
              <a:extLst>
                <a:ext uri="{FF2B5EF4-FFF2-40B4-BE49-F238E27FC236}">
                  <a16:creationId xmlns:a16="http://schemas.microsoft.com/office/drawing/2014/main" id="{461AB660-1571-4827-7312-BFD4B11922AA}"/>
                </a:ext>
              </a:extLst>
            </p:cNvPr>
            <p:cNvSpPr txBox="1"/>
            <p:nvPr/>
          </p:nvSpPr>
          <p:spPr>
            <a:xfrm>
              <a:off x="7324147" y="3158293"/>
              <a:ext cx="218742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1" dirty="0"/>
                <a:t>systolic blood pressure</a:t>
              </a:r>
            </a:p>
          </p:txBody>
        </p:sp>
      </p:grp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BEE5A204-D438-A51C-9799-1311DB4D627E}"/>
              </a:ext>
            </a:extLst>
          </p:cNvPr>
          <p:cNvSpPr txBox="1"/>
          <p:nvPr/>
        </p:nvSpPr>
        <p:spPr>
          <a:xfrm>
            <a:off x="10734577" y="3549704"/>
            <a:ext cx="218742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dirty="0"/>
              <a:t>eGFR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B0E697B1-CC3C-661D-D1F6-9D8AB876BEE7}"/>
              </a:ext>
            </a:extLst>
          </p:cNvPr>
          <p:cNvSpPr txBox="1"/>
          <p:nvPr/>
        </p:nvSpPr>
        <p:spPr>
          <a:xfrm>
            <a:off x="475586" y="6415326"/>
            <a:ext cx="64595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212121"/>
                </a:solidFill>
                <a:effectLst/>
                <a:latin typeface="BlinkMacSystemFont"/>
              </a:rPr>
              <a:t>Lancet. 2018 Oct 27;392(10157):1519-1529. </a:t>
            </a:r>
            <a:endParaRPr lang="en-US" dirty="0"/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CEB898E4-1EA2-9644-F8CB-FB5D662B48D3}"/>
              </a:ext>
            </a:extLst>
          </p:cNvPr>
          <p:cNvSpPr txBox="1"/>
          <p:nvPr/>
        </p:nvSpPr>
        <p:spPr>
          <a:xfrm>
            <a:off x="4905961" y="25061"/>
            <a:ext cx="213475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800" b="1" dirty="0"/>
              <a:t>ALBIGLUTIDE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4850353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>
            <a:extLst>
              <a:ext uri="{FF2B5EF4-FFF2-40B4-BE49-F238E27FC236}">
                <a16:creationId xmlns:a16="http://schemas.microsoft.com/office/drawing/2014/main" id="{C16BD77D-4BEB-E178-4D93-192F2FB5B2F3}"/>
              </a:ext>
            </a:extLst>
          </p:cNvPr>
          <p:cNvSpPr txBox="1"/>
          <p:nvPr/>
        </p:nvSpPr>
        <p:spPr>
          <a:xfrm>
            <a:off x="3877745" y="2407632"/>
            <a:ext cx="4436512" cy="38556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38" dirty="0">
                <a:ea typeface="Calibri" panose="020F0502020204030204" pitchFamily="34" charset="0"/>
              </a:rPr>
              <a:t>Consulting fees from Novo Nordisk, Eli Lilly, Boehringer Ingelheim, Medtronic, </a:t>
            </a:r>
            <a:r>
              <a:rPr lang="en-GB" sz="2038" dirty="0" err="1">
                <a:ea typeface="Calibri" panose="020F0502020204030204" pitchFamily="34" charset="0"/>
              </a:rPr>
              <a:t>Fractyl</a:t>
            </a:r>
            <a:r>
              <a:rPr lang="en-GB" sz="2038" dirty="0">
                <a:ea typeface="Calibri" panose="020F0502020204030204" pitchFamily="34" charset="0"/>
              </a:rPr>
              <a:t> Inc, and </a:t>
            </a:r>
            <a:r>
              <a:rPr lang="en-GB" sz="2038" dirty="0" err="1">
                <a:ea typeface="Calibri" panose="020F0502020204030204" pitchFamily="34" charset="0"/>
              </a:rPr>
              <a:t>Recor</a:t>
            </a:r>
            <a:r>
              <a:rPr lang="en-GB" sz="2038" dirty="0">
                <a:ea typeface="Calibri" panose="020F0502020204030204" pitchFamily="34" charset="0"/>
              </a:rPr>
              <a:t> Inc. </a:t>
            </a:r>
          </a:p>
          <a:p>
            <a:endParaRPr lang="en-GB" sz="2038" dirty="0">
              <a:ea typeface="Calibri" panose="020F0502020204030204" pitchFamily="34" charset="0"/>
            </a:endParaRPr>
          </a:p>
          <a:p>
            <a:r>
              <a:rPr lang="en-GB" sz="2038" dirty="0">
                <a:ea typeface="Calibri" panose="020F0502020204030204" pitchFamily="34" charset="0"/>
              </a:rPr>
              <a:t>Scientific advisor of </a:t>
            </a:r>
            <a:r>
              <a:rPr lang="en-GB" sz="2038" dirty="0" err="1">
                <a:ea typeface="Calibri" panose="020F0502020204030204" pitchFamily="34" charset="0"/>
              </a:rPr>
              <a:t>Metadeq</a:t>
            </a:r>
            <a:r>
              <a:rPr lang="en-GB" sz="2038" dirty="0">
                <a:ea typeface="Calibri" panose="020F0502020204030204" pitchFamily="34" charset="0"/>
              </a:rPr>
              <a:t> Inc., </a:t>
            </a:r>
            <a:r>
              <a:rPr lang="en-GB" sz="2038" dirty="0" err="1">
                <a:ea typeface="Calibri" panose="020F0502020204030204" pitchFamily="34" charset="0"/>
              </a:rPr>
              <a:t>Keyron</a:t>
            </a:r>
            <a:r>
              <a:rPr lang="en-GB" sz="2038" dirty="0">
                <a:ea typeface="Calibri" panose="020F0502020204030204" pitchFamily="34" charset="0"/>
              </a:rPr>
              <a:t> Ltd, GHP Scientific Ltd, and </a:t>
            </a:r>
            <a:r>
              <a:rPr lang="en-GB" sz="2038" dirty="0" err="1">
                <a:ea typeface="Calibri" panose="020F0502020204030204" pitchFamily="34" charset="0"/>
              </a:rPr>
              <a:t>Jemyll</a:t>
            </a:r>
            <a:r>
              <a:rPr lang="en-GB" sz="2038" dirty="0">
                <a:ea typeface="Calibri" panose="020F0502020204030204" pitchFamily="34" charset="0"/>
              </a:rPr>
              <a:t> Ltd.</a:t>
            </a:r>
          </a:p>
          <a:p>
            <a:endParaRPr lang="en-GB" sz="2038" dirty="0"/>
          </a:p>
          <a:p>
            <a:r>
              <a:rPr lang="en-GB" sz="2038" dirty="0"/>
              <a:t>Grants from </a:t>
            </a:r>
            <a:r>
              <a:rPr lang="en-GB" sz="2038" dirty="0" err="1"/>
              <a:t>Fractyl</a:t>
            </a:r>
            <a:r>
              <a:rPr lang="en-GB" sz="2038" dirty="0"/>
              <a:t> Inc.,</a:t>
            </a:r>
            <a:r>
              <a:rPr lang="en-GB" sz="2038" dirty="0" err="1"/>
              <a:t>Metadeq</a:t>
            </a:r>
            <a:r>
              <a:rPr lang="en-GB" sz="2038" dirty="0"/>
              <a:t> Inc., </a:t>
            </a:r>
            <a:r>
              <a:rPr lang="en-GB" sz="2038" dirty="0" err="1">
                <a:ea typeface="Calibri" panose="020F0502020204030204" pitchFamily="34" charset="0"/>
              </a:rPr>
              <a:t>Keyron</a:t>
            </a:r>
            <a:r>
              <a:rPr lang="en-GB" sz="2038" dirty="0">
                <a:ea typeface="Calibri" panose="020F0502020204030204" pitchFamily="34" charset="0"/>
              </a:rPr>
              <a:t> Ltd, GHP Scientific Ltd, and </a:t>
            </a:r>
            <a:r>
              <a:rPr lang="en-GB" sz="2038" dirty="0" err="1">
                <a:ea typeface="Calibri" panose="020F0502020204030204" pitchFamily="34" charset="0"/>
              </a:rPr>
              <a:t>Jemyll</a:t>
            </a:r>
            <a:r>
              <a:rPr lang="en-GB" sz="2038" dirty="0">
                <a:ea typeface="Calibri" panose="020F0502020204030204" pitchFamily="34" charset="0"/>
              </a:rPr>
              <a:t> Ltd.</a:t>
            </a:r>
          </a:p>
          <a:p>
            <a:endParaRPr lang="en-US" sz="2038" dirty="0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118C2B78-1398-6B82-4A43-4D85C335F7A8}"/>
              </a:ext>
            </a:extLst>
          </p:cNvPr>
          <p:cNvSpPr txBox="1"/>
          <p:nvPr/>
        </p:nvSpPr>
        <p:spPr>
          <a:xfrm>
            <a:off x="3876728" y="1451959"/>
            <a:ext cx="4049057" cy="5852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3" dirty="0"/>
              <a:t>CONFLICT OF INTEREST</a:t>
            </a:r>
            <a:endParaRPr lang="en-US" sz="3203" dirty="0"/>
          </a:p>
        </p:txBody>
      </p:sp>
    </p:spTree>
    <p:extLst>
      <p:ext uri="{BB962C8B-B14F-4D97-AF65-F5344CB8AC3E}">
        <p14:creationId xmlns:p14="http://schemas.microsoft.com/office/powerpoint/2010/main" val="31645752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EA223129-5321-E5D0-CD2B-C739C55C04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87927"/>
            <a:ext cx="6629988" cy="4475242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54AD23F0-345D-AF0E-E4CD-2A483E3438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6737" y="665018"/>
            <a:ext cx="6275263" cy="4198151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92DA4240-A16B-9492-74FB-F7D45E7958B7}"/>
              </a:ext>
            </a:extLst>
          </p:cNvPr>
          <p:cNvSpPr txBox="1"/>
          <p:nvPr/>
        </p:nvSpPr>
        <p:spPr>
          <a:xfrm>
            <a:off x="533988" y="5869816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212121"/>
                </a:solidFill>
                <a:effectLst/>
                <a:latin typeface="BlinkMacSystemFont"/>
              </a:rPr>
              <a:t>A Meta-Analysis with Meta-Regression. Diabetes </a:t>
            </a:r>
            <a:r>
              <a:rPr lang="en-US" b="0" i="0" dirty="0" err="1">
                <a:solidFill>
                  <a:srgbClr val="212121"/>
                </a:solidFill>
                <a:effectLst/>
                <a:latin typeface="BlinkMacSystemFont"/>
              </a:rPr>
              <a:t>Ther</a:t>
            </a:r>
            <a:r>
              <a:rPr lang="en-US" b="0" i="0" dirty="0">
                <a:solidFill>
                  <a:srgbClr val="212121"/>
                </a:solidFill>
                <a:effectLst/>
                <a:latin typeface="BlinkMacSystemFont"/>
              </a:rPr>
              <a:t>. 2020 Oct;11(10):2429-2440.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7683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>
            <a:extLst>
              <a:ext uri="{FF2B5EF4-FFF2-40B4-BE49-F238E27FC236}">
                <a16:creationId xmlns:a16="http://schemas.microsoft.com/office/drawing/2014/main" id="{96542A19-4E35-63AE-0AED-66E2F92F29CF}"/>
              </a:ext>
            </a:extLst>
          </p:cNvPr>
          <p:cNvSpPr txBox="1"/>
          <p:nvPr/>
        </p:nvSpPr>
        <p:spPr>
          <a:xfrm>
            <a:off x="3224749" y="876258"/>
            <a:ext cx="609460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1F1F1F"/>
                </a:solidFill>
                <a:effectLst/>
                <a:latin typeface="Google Sans"/>
              </a:rPr>
              <a:t>Of an estimated 687,866 patients at an annual 2435 hospitals, 69.9% underwent </a:t>
            </a:r>
            <a:r>
              <a:rPr lang="en-US" b="1" i="0" dirty="0">
                <a:solidFill>
                  <a:srgbClr val="0070C0"/>
                </a:solidFill>
                <a:effectLst/>
                <a:latin typeface="Google Sans"/>
              </a:rPr>
              <a:t>SG</a:t>
            </a:r>
            <a:r>
              <a:rPr lang="en-US" b="0" i="0" dirty="0">
                <a:solidFill>
                  <a:srgbClr val="1F1F1F"/>
                </a:solidFill>
                <a:effectLst/>
                <a:latin typeface="Google Sans"/>
              </a:rPr>
              <a:t> and 30.1% </a:t>
            </a:r>
            <a:r>
              <a:rPr lang="en-US" b="1" i="0" dirty="0">
                <a:solidFill>
                  <a:srgbClr val="7030A0"/>
                </a:solidFill>
                <a:effectLst/>
                <a:latin typeface="Google Sans"/>
              </a:rPr>
              <a:t>RYGB</a:t>
            </a:r>
            <a:r>
              <a:rPr lang="en-US" b="0" i="0" dirty="0">
                <a:solidFill>
                  <a:srgbClr val="1F1F1F"/>
                </a:solidFill>
                <a:effectLst/>
                <a:latin typeface="Google Sans"/>
              </a:rPr>
              <a:t>, with </a:t>
            </a:r>
            <a:r>
              <a:rPr lang="en-US" b="0" i="0" dirty="0">
                <a:solidFill>
                  <a:srgbClr val="040C28"/>
                </a:solidFill>
                <a:effectLst/>
                <a:latin typeface="Google Sans"/>
              </a:rPr>
              <a:t>median costs of </a:t>
            </a:r>
            <a:r>
              <a:rPr lang="en-US" b="1" i="0" dirty="0">
                <a:solidFill>
                  <a:srgbClr val="0070C0"/>
                </a:solidFill>
                <a:effectLst/>
                <a:latin typeface="Google Sans"/>
              </a:rPr>
              <a:t>$10,900 </a:t>
            </a:r>
            <a:r>
              <a:rPr lang="en-US" b="0" i="0" dirty="0">
                <a:solidFill>
                  <a:srgbClr val="040C28"/>
                </a:solidFill>
                <a:effectLst/>
                <a:latin typeface="Google Sans"/>
              </a:rPr>
              <a:t>(interquartile range: 8600-14,000) and </a:t>
            </a:r>
            <a:r>
              <a:rPr lang="en-US" b="1" i="0" dirty="0">
                <a:solidFill>
                  <a:srgbClr val="7030A0"/>
                </a:solidFill>
                <a:effectLst/>
                <a:latin typeface="Google Sans"/>
              </a:rPr>
              <a:t>$13,600 </a:t>
            </a:r>
            <a:r>
              <a:rPr lang="en-US" b="0" i="0" dirty="0">
                <a:solidFill>
                  <a:srgbClr val="040C28"/>
                </a:solidFill>
                <a:effectLst/>
                <a:latin typeface="Google Sans"/>
              </a:rPr>
              <a:t>(10,300-18,000)</a:t>
            </a:r>
            <a:r>
              <a:rPr lang="en-US" b="0" i="0" dirty="0">
                <a:solidFill>
                  <a:srgbClr val="1F1F1F"/>
                </a:solidFill>
                <a:effectLst/>
                <a:latin typeface="Google Sans"/>
              </a:rPr>
              <a:t>, respectively.</a:t>
            </a:r>
            <a:endParaRPr lang="en-US" dirty="0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28002FF1-3CD8-67F3-12D6-DA6FB83CCAF7}"/>
              </a:ext>
            </a:extLst>
          </p:cNvPr>
          <p:cNvSpPr txBox="1"/>
          <p:nvPr/>
        </p:nvSpPr>
        <p:spPr>
          <a:xfrm>
            <a:off x="4204981" y="2343802"/>
            <a:ext cx="609460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Am Surg. 2023 Oct;89(10):4061-4065.</a:t>
            </a:r>
          </a:p>
        </p:txBody>
      </p:sp>
      <p:graphicFrame>
        <p:nvGraphicFramePr>
          <p:cNvPr id="11" name="Tabella 11">
            <a:extLst>
              <a:ext uri="{FF2B5EF4-FFF2-40B4-BE49-F238E27FC236}">
                <a16:creationId xmlns:a16="http://schemas.microsoft.com/office/drawing/2014/main" id="{17DA1CE5-23C6-27E0-3521-F92963D436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7670501"/>
              </p:ext>
            </p:extLst>
          </p:nvPr>
        </p:nvGraphicFramePr>
        <p:xfrm>
          <a:off x="2124279" y="4141470"/>
          <a:ext cx="8471016" cy="165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1836">
                  <a:extLst>
                    <a:ext uri="{9D8B030D-6E8A-4147-A177-3AD203B41FA5}">
                      <a16:colId xmlns:a16="http://schemas.microsoft.com/office/drawing/2014/main" val="3217956246"/>
                    </a:ext>
                  </a:extLst>
                </a:gridCol>
                <a:gridCol w="1411836">
                  <a:extLst>
                    <a:ext uri="{9D8B030D-6E8A-4147-A177-3AD203B41FA5}">
                      <a16:colId xmlns:a16="http://schemas.microsoft.com/office/drawing/2014/main" val="2948915807"/>
                    </a:ext>
                  </a:extLst>
                </a:gridCol>
                <a:gridCol w="1411836">
                  <a:extLst>
                    <a:ext uri="{9D8B030D-6E8A-4147-A177-3AD203B41FA5}">
                      <a16:colId xmlns:a16="http://schemas.microsoft.com/office/drawing/2014/main" val="1123926227"/>
                    </a:ext>
                  </a:extLst>
                </a:gridCol>
                <a:gridCol w="1411836">
                  <a:extLst>
                    <a:ext uri="{9D8B030D-6E8A-4147-A177-3AD203B41FA5}">
                      <a16:colId xmlns:a16="http://schemas.microsoft.com/office/drawing/2014/main" val="1082942351"/>
                    </a:ext>
                  </a:extLst>
                </a:gridCol>
                <a:gridCol w="1411836">
                  <a:extLst>
                    <a:ext uri="{9D8B030D-6E8A-4147-A177-3AD203B41FA5}">
                      <a16:colId xmlns:a16="http://schemas.microsoft.com/office/drawing/2014/main" val="2255917082"/>
                    </a:ext>
                  </a:extLst>
                </a:gridCol>
                <a:gridCol w="1411836">
                  <a:extLst>
                    <a:ext uri="{9D8B030D-6E8A-4147-A177-3AD203B41FA5}">
                      <a16:colId xmlns:a16="http://schemas.microsoft.com/office/drawing/2014/main" val="13217191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UK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U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German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i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nmark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 err="1"/>
                        <a:t>Italy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64048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b="1" dirty="0" err="1"/>
                        <a:t>Semaglutide</a:t>
                      </a:r>
                      <a:endParaRPr lang="it-IT" b="1" dirty="0"/>
                    </a:p>
                    <a:p>
                      <a:r>
                        <a:rPr lang="it-IT" b="1" dirty="0"/>
                        <a:t>2.4 mg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$ 369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$ 1623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$ 3918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$ 438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$ 5105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08895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b="1" dirty="0" err="1"/>
                        <a:t>Tirzepatide</a:t>
                      </a:r>
                      <a:endParaRPr lang="it-IT" b="1" dirty="0"/>
                    </a:p>
                    <a:p>
                      <a:r>
                        <a:rPr lang="it-IT" b="1" dirty="0"/>
                        <a:t>15 mg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$ 287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$ 1282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$ 3337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$ 8602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528655"/>
                  </a:ext>
                </a:extLst>
              </a:tr>
            </a:tbl>
          </a:graphicData>
        </a:graphic>
      </p:graphicFrame>
      <p:sp>
        <p:nvSpPr>
          <p:cNvPr id="2" name="CasellaDiTesto 1">
            <a:extLst>
              <a:ext uri="{FF2B5EF4-FFF2-40B4-BE49-F238E27FC236}">
                <a16:creationId xmlns:a16="http://schemas.microsoft.com/office/drawing/2014/main" id="{1DE74EA0-C89B-42A8-EE99-3832E5FF9A59}"/>
              </a:ext>
            </a:extLst>
          </p:cNvPr>
          <p:cNvSpPr txBox="1"/>
          <p:nvPr/>
        </p:nvSpPr>
        <p:spPr>
          <a:xfrm>
            <a:off x="5144568" y="3606325"/>
            <a:ext cx="1651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/>
              <a:t>COST PER YEAR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2004849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uppo 12">
            <a:extLst>
              <a:ext uri="{FF2B5EF4-FFF2-40B4-BE49-F238E27FC236}">
                <a16:creationId xmlns:a16="http://schemas.microsoft.com/office/drawing/2014/main" id="{A5C12F7C-601A-74BE-B6AE-336C491A173C}"/>
              </a:ext>
            </a:extLst>
          </p:cNvPr>
          <p:cNvGrpSpPr/>
          <p:nvPr/>
        </p:nvGrpSpPr>
        <p:grpSpPr>
          <a:xfrm>
            <a:off x="4479633" y="0"/>
            <a:ext cx="6874168" cy="6766214"/>
            <a:chOff x="2927924" y="-1"/>
            <a:chExt cx="6874168" cy="6766214"/>
          </a:xfrm>
        </p:grpSpPr>
        <p:pic>
          <p:nvPicPr>
            <p:cNvPr id="6" name="Immagine 5">
              <a:extLst>
                <a:ext uri="{FF2B5EF4-FFF2-40B4-BE49-F238E27FC236}">
                  <a16:creationId xmlns:a16="http://schemas.microsoft.com/office/drawing/2014/main" id="{C5136C1D-CBA2-E822-2913-9F8660AA719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5400000">
              <a:off x="4235927" y="-1291836"/>
              <a:ext cx="4274329" cy="6858000"/>
            </a:xfrm>
            <a:prstGeom prst="rect">
              <a:avLst/>
            </a:prstGeom>
          </p:spPr>
        </p:pic>
        <p:pic>
          <p:nvPicPr>
            <p:cNvPr id="12" name="Immagine 11">
              <a:extLst>
                <a:ext uri="{FF2B5EF4-FFF2-40B4-BE49-F238E27FC236}">
                  <a16:creationId xmlns:a16="http://schemas.microsoft.com/office/drawing/2014/main" id="{D120CCA7-8919-D0AD-F2BA-1015FFC587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927924" y="4137313"/>
              <a:ext cx="6874168" cy="2628900"/>
            </a:xfrm>
            <a:prstGeom prst="rect">
              <a:avLst/>
            </a:prstGeom>
          </p:spPr>
        </p:pic>
      </p:grpSp>
      <p:pic>
        <p:nvPicPr>
          <p:cNvPr id="15" name="Immagine 14">
            <a:extLst>
              <a:ext uri="{FF2B5EF4-FFF2-40B4-BE49-F238E27FC236}">
                <a16:creationId xmlns:a16="http://schemas.microsoft.com/office/drawing/2014/main" id="{D391E344-C1D8-319E-D284-BAD59A9882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312655"/>
            <a:ext cx="442912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44162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F3BA1F5E-F049-AF35-0FF5-2E054163C5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1304" y="2252013"/>
            <a:ext cx="6731252" cy="3455137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58A5BD56-270B-D037-1F0D-D70E2904F99E}"/>
              </a:ext>
            </a:extLst>
          </p:cNvPr>
          <p:cNvSpPr txBox="1"/>
          <p:nvPr/>
        </p:nvSpPr>
        <p:spPr>
          <a:xfrm>
            <a:off x="3334183" y="5707150"/>
            <a:ext cx="5815482" cy="3366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588" dirty="0"/>
              <a:t>Proportion of Patients Who Discontinued GLP-1 RA Therapy, n=4791. </a:t>
            </a: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8391E381-7D54-DCAE-0002-6B0F859FD8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2731" y="105512"/>
            <a:ext cx="5205313" cy="1735105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BE025FD1-CADC-CB63-311D-5017945C38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2362" y="105512"/>
            <a:ext cx="1561594" cy="2229609"/>
          </a:xfrm>
          <a:prstGeom prst="rect">
            <a:avLst/>
          </a:prstGeom>
        </p:spPr>
      </p:pic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30C0675D-9CB6-BD79-3D7E-D49766EEA0D4}"/>
              </a:ext>
            </a:extLst>
          </p:cNvPr>
          <p:cNvSpPr txBox="1"/>
          <p:nvPr/>
        </p:nvSpPr>
        <p:spPr>
          <a:xfrm>
            <a:off x="2117498" y="6182197"/>
            <a:ext cx="8435778" cy="5810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588" dirty="0">
                <a:solidFill>
                  <a:srgbClr val="212121"/>
                </a:solidFill>
                <a:latin typeface="Cambria" panose="02040503050406030204" pitchFamily="18" charset="0"/>
              </a:rPr>
              <a:t>A total of 4791 T2DM patients had ≥1 and 3907 had ≥2 GLP-1 RA prescription claims. </a:t>
            </a:r>
            <a:r>
              <a:rPr lang="en-US" sz="1588" b="1" dirty="0">
                <a:solidFill>
                  <a:srgbClr val="212121"/>
                </a:solidFill>
                <a:latin typeface="Cambria" panose="02040503050406030204" pitchFamily="18" charset="0"/>
              </a:rPr>
              <a:t>50.9% and 47.4% of patients were adherent at 12 and 24 months, respectively. </a:t>
            </a:r>
            <a:endParaRPr lang="en-US" sz="1588" b="1" dirty="0"/>
          </a:p>
        </p:txBody>
      </p:sp>
    </p:spTree>
    <p:extLst>
      <p:ext uri="{BB962C8B-B14F-4D97-AF65-F5344CB8AC3E}">
        <p14:creationId xmlns:p14="http://schemas.microsoft.com/office/powerpoint/2010/main" val="29335005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">
            <a:extLst>
              <a:ext uri="{FF2B5EF4-FFF2-40B4-BE49-F238E27FC236}">
                <a16:creationId xmlns:a16="http://schemas.microsoft.com/office/drawing/2014/main" id="{9EEA7139-2748-5D3B-84BD-362EEC0F36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06732" y="110295"/>
            <a:ext cx="9363075" cy="677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5pPr>
            <a:lvl6pPr marL="15367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6pPr>
            <a:lvl7pPr marL="19939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7pPr>
            <a:lvl8pPr marL="24511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8pPr>
            <a:lvl9pPr marL="29083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9pPr>
          </a:lstStyle>
          <a:p>
            <a:pPr algn="ctr"/>
            <a:r>
              <a:rPr lang="en-GB" altLang="en-US" sz="1600" b="1" dirty="0">
                <a:latin typeface="Arial" panose="020B0604020202020204" pitchFamily="34" charset="0"/>
              </a:rPr>
              <a:t>Per cent of patients who were adherent to (n=530)† and discontinued (n=589) GLP-1 RA therapy at 12 and 24 months. †Adherence assessed among patients with two or more GLP-1 RA prescriptions.  UNITED STAT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6D0397-E56F-8CDA-AE4C-DC6F902C65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1974" y="5913401"/>
            <a:ext cx="1144587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757BF66-82B7-62AA-24EC-3478749F56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6730" y="993338"/>
            <a:ext cx="8604250" cy="3603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" name="Text Box 4">
            <a:extLst>
              <a:ext uri="{FF2B5EF4-FFF2-40B4-BE49-F238E27FC236}">
                <a16:creationId xmlns:a16="http://schemas.microsoft.com/office/drawing/2014/main" id="{17007F2A-D1AA-E4D4-98E1-85144BA73C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87732" y="6272970"/>
            <a:ext cx="4319588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5pPr>
            <a:lvl6pPr marL="15367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6pPr>
            <a:lvl7pPr marL="19939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7pPr>
            <a:lvl8pPr marL="24511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8pPr>
            <a:lvl9pPr marL="29083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anose="05000000000000000000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cs typeface="msgothic" charset="0"/>
              </a:defRPr>
            </a:lvl9pPr>
          </a:lstStyle>
          <a:p>
            <a:r>
              <a:rPr lang="en-GB" altLang="en-US" sz="1200" b="1">
                <a:latin typeface="Arial" panose="020B0604020202020204" pitchFamily="34" charset="0"/>
              </a:rPr>
              <a:t>Tracey Weiss et al. BMJ Open Diab Res Care 2022;10:e002517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F8C98A95-8559-CF7F-28F4-936D2B065821}"/>
              </a:ext>
            </a:extLst>
          </p:cNvPr>
          <p:cNvSpPr txBox="1"/>
          <p:nvPr/>
        </p:nvSpPr>
        <p:spPr>
          <a:xfrm>
            <a:off x="1536730" y="4696302"/>
            <a:ext cx="780650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333333"/>
                </a:solidFill>
                <a:effectLst/>
                <a:latin typeface="interfaceregular"/>
              </a:rPr>
              <a:t>“A minority of patients initiating GLP-1 RAs achieved ≥5% weight loss, suggesting the real-world benefit of these agents on weight loss may be lower than that observed in clinical trials. Patients on GLP-1 RAs may benefit from additional support to improve long-term adherenc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4823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>
            <a:extLst>
              <a:ext uri="{FF2B5EF4-FFF2-40B4-BE49-F238E27FC236}">
                <a16:creationId xmlns:a16="http://schemas.microsoft.com/office/drawing/2014/main" id="{74DB3413-7067-59B5-EBE3-0ED80DADFB8E}"/>
              </a:ext>
            </a:extLst>
          </p:cNvPr>
          <p:cNvSpPr txBox="1"/>
          <p:nvPr/>
        </p:nvSpPr>
        <p:spPr>
          <a:xfrm>
            <a:off x="4060271" y="251670"/>
            <a:ext cx="350666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4400" dirty="0"/>
              <a:t>CONCLUSIONS</a:t>
            </a:r>
            <a:endParaRPr lang="en-US" sz="4400" dirty="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79114E5E-AB79-8804-380D-1D18F3DEECD3}"/>
              </a:ext>
            </a:extLst>
          </p:cNvPr>
          <p:cNvSpPr txBox="1"/>
          <p:nvPr/>
        </p:nvSpPr>
        <p:spPr>
          <a:xfrm>
            <a:off x="771787" y="1417739"/>
            <a:ext cx="10648877" cy="45243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GLP-1 receptor agonists (GLP-1 RAs), along with dual GLP-1 and GIP receptor agonists, and triple agonists </a:t>
            </a:r>
          </a:p>
          <a:p>
            <a:r>
              <a:rPr lang="en-US" dirty="0"/>
              <a:t>targeting GIP, GLP-1, and glucagon receptors, have been shown to significantly reduce appetite and enhance </a:t>
            </a:r>
          </a:p>
          <a:p>
            <a:r>
              <a:rPr lang="en-US" dirty="0"/>
              <a:t>feelings of satiety, resulting in high weight loss.</a:t>
            </a:r>
          </a:p>
          <a:p>
            <a:endParaRPr lang="en-US" dirty="0"/>
          </a:p>
          <a:p>
            <a:r>
              <a:rPr lang="en-US" dirty="0"/>
              <a:t>The weight loss effect is generally more pronounced in individuals with obesity alone compared to those </a:t>
            </a:r>
          </a:p>
          <a:p>
            <a:r>
              <a:rPr lang="en-US" dirty="0"/>
              <a:t>with both obesity and type 2 diabetes. However, despite the difference in weight loss, their impact on </a:t>
            </a:r>
          </a:p>
          <a:p>
            <a:r>
              <a:rPr lang="en-US" dirty="0"/>
              <a:t>glycemic control in individuals with type 2 diabetes appears to be largely independent of weight reduction. </a:t>
            </a:r>
          </a:p>
          <a:p>
            <a:r>
              <a:rPr lang="en-US" dirty="0"/>
              <a:t>Even with less pronounced weight loss, these agents still achieve substantial reductions in glycated hemoglobin </a:t>
            </a:r>
          </a:p>
          <a:p>
            <a:r>
              <a:rPr lang="en-US" dirty="0"/>
              <a:t>(HbA1c), highlighting their potent glucose-lowering effects.</a:t>
            </a:r>
          </a:p>
          <a:p>
            <a:endParaRPr lang="en-US" dirty="0"/>
          </a:p>
          <a:p>
            <a:r>
              <a:rPr lang="en-US" dirty="0"/>
              <a:t>In addition, certain GLP-1 RAs, such as </a:t>
            </a:r>
            <a:r>
              <a:rPr lang="en-US" dirty="0" err="1"/>
              <a:t>semaglutide</a:t>
            </a:r>
            <a:r>
              <a:rPr lang="en-US" dirty="0"/>
              <a:t> (at a dose of 2.4 mg) and albiglutide, demonstrate </a:t>
            </a:r>
          </a:p>
          <a:p>
            <a:r>
              <a:rPr lang="en-US" dirty="0"/>
              <a:t>benefits that extend beyond weight loss. These molecules appear to exert a direct cardioprotective effect, </a:t>
            </a:r>
          </a:p>
          <a:p>
            <a:r>
              <a:rPr lang="en-US" dirty="0"/>
              <a:t>acting on the heart and arteries, further supporting their role in reducing cardiovascular risks in patients </a:t>
            </a:r>
          </a:p>
          <a:p>
            <a:r>
              <a:rPr lang="en-US" dirty="0"/>
              <a:t>with obesity and diabetes. This suggests that the therapeutic advantages of these agents encompass </a:t>
            </a:r>
          </a:p>
          <a:p>
            <a:r>
              <a:rPr lang="en-US" dirty="0"/>
              <a:t>both metabolic and cardiovascular improvements, making them highly valuable in managing these condition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93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840"/>
    </mc:Choice>
    <mc:Fallback xmlns="">
      <p:transition spd="slow" advTm="65840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7F1CCB64-8231-435F-87C9-78C908E3938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Grazie</a:t>
            </a:r>
          </a:p>
        </p:txBody>
      </p:sp>
    </p:spTree>
    <p:extLst>
      <p:ext uri="{BB962C8B-B14F-4D97-AF65-F5344CB8AC3E}">
        <p14:creationId xmlns:p14="http://schemas.microsoft.com/office/powerpoint/2010/main" val="1745545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41053D79-79DF-18C8-739E-2D38E66E8D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5990" y="0"/>
            <a:ext cx="8360019" cy="6858000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EF002111-9227-A411-6E74-4ECE4DE370DA}"/>
              </a:ext>
            </a:extLst>
          </p:cNvPr>
          <p:cNvSpPr txBox="1"/>
          <p:nvPr/>
        </p:nvSpPr>
        <p:spPr>
          <a:xfrm>
            <a:off x="0" y="637667"/>
            <a:ext cx="2474752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040C28"/>
                </a:solidFill>
                <a:effectLst/>
                <a:latin typeface="Google Sans"/>
              </a:rPr>
              <a:t>More than </a:t>
            </a:r>
            <a:r>
              <a:rPr lang="en-US" b="1" i="0" dirty="0">
                <a:solidFill>
                  <a:srgbClr val="040C28"/>
                </a:solidFill>
                <a:effectLst/>
                <a:latin typeface="Google Sans"/>
              </a:rPr>
              <a:t>1 billion</a:t>
            </a:r>
          </a:p>
          <a:p>
            <a:r>
              <a:rPr lang="en-US" dirty="0">
                <a:solidFill>
                  <a:srgbClr val="040C28"/>
                </a:solidFill>
                <a:latin typeface="Google Sans"/>
              </a:rPr>
              <a:t>people living </a:t>
            </a:r>
          </a:p>
          <a:p>
            <a:r>
              <a:rPr lang="en-US" dirty="0">
                <a:solidFill>
                  <a:srgbClr val="040C28"/>
                </a:solidFill>
                <a:latin typeface="Google Sans"/>
              </a:rPr>
              <a:t>w</a:t>
            </a:r>
            <a:r>
              <a:rPr lang="en-US" b="0" i="0" dirty="0">
                <a:solidFill>
                  <a:srgbClr val="040C28"/>
                </a:solidFill>
                <a:effectLst/>
                <a:latin typeface="Google Sans"/>
              </a:rPr>
              <a:t>ith obesity:</a:t>
            </a:r>
          </a:p>
          <a:p>
            <a:r>
              <a:rPr lang="en-US" b="0" i="0" dirty="0">
                <a:solidFill>
                  <a:srgbClr val="040C28"/>
                </a:solidFill>
                <a:effectLst/>
                <a:latin typeface="Google Sans"/>
              </a:rPr>
              <a:t>880 million</a:t>
            </a:r>
            <a:r>
              <a:rPr lang="en-US" b="0" i="0" dirty="0">
                <a:solidFill>
                  <a:srgbClr val="1F1F1F"/>
                </a:solidFill>
                <a:effectLst/>
                <a:latin typeface="Google Sans"/>
              </a:rPr>
              <a:t> adults</a:t>
            </a:r>
          </a:p>
          <a:p>
            <a:r>
              <a:rPr lang="en-US" b="0" i="0" dirty="0">
                <a:solidFill>
                  <a:srgbClr val="1F1F1F"/>
                </a:solidFill>
                <a:effectLst/>
                <a:latin typeface="Google Sans"/>
              </a:rPr>
              <a:t>159 million childr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56593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>
            <a:extLst>
              <a:ext uri="{FF2B5EF4-FFF2-40B4-BE49-F238E27FC236}">
                <a16:creationId xmlns:a16="http://schemas.microsoft.com/office/drawing/2014/main" id="{59311A3F-D67F-F9F5-387F-8AB7D311EF10}"/>
              </a:ext>
            </a:extLst>
          </p:cNvPr>
          <p:cNvGrpSpPr/>
          <p:nvPr/>
        </p:nvGrpSpPr>
        <p:grpSpPr>
          <a:xfrm>
            <a:off x="1154545" y="757382"/>
            <a:ext cx="9703955" cy="5114780"/>
            <a:chOff x="1154545" y="757382"/>
            <a:chExt cx="9703955" cy="5114780"/>
          </a:xfrm>
        </p:grpSpPr>
        <p:pic>
          <p:nvPicPr>
            <p:cNvPr id="2" name="Immagine 1">
              <a:extLst>
                <a:ext uri="{FF2B5EF4-FFF2-40B4-BE49-F238E27FC236}">
                  <a16:creationId xmlns:a16="http://schemas.microsoft.com/office/drawing/2014/main" id="{94C924AB-7393-54AB-C884-99E3B95E02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333500" y="985837"/>
              <a:ext cx="9525000" cy="4886325"/>
            </a:xfrm>
            <a:prstGeom prst="rect">
              <a:avLst/>
            </a:prstGeom>
          </p:spPr>
        </p:pic>
        <p:sp>
          <p:nvSpPr>
            <p:cNvPr id="3" name="Rettangolo 2">
              <a:extLst>
                <a:ext uri="{FF2B5EF4-FFF2-40B4-BE49-F238E27FC236}">
                  <a16:creationId xmlns:a16="http://schemas.microsoft.com/office/drawing/2014/main" id="{77C63630-FE06-CA8E-A481-D9FFF2E7320C}"/>
                </a:ext>
              </a:extLst>
            </p:cNvPr>
            <p:cNvSpPr/>
            <p:nvPr/>
          </p:nvSpPr>
          <p:spPr>
            <a:xfrm>
              <a:off x="1154545" y="757382"/>
              <a:ext cx="1551710" cy="74814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417318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6">
            <a:extLst>
              <a:ext uri="{FF2B5EF4-FFF2-40B4-BE49-F238E27FC236}">
                <a16:creationId xmlns:a16="http://schemas.microsoft.com/office/drawing/2014/main" id="{0B761509-3B9A-49A6-A84B-C3D8681169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" y="0"/>
            <a:ext cx="1219199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" name="Freeform: Shape 8">
            <a:extLst>
              <a:ext uri="{FF2B5EF4-FFF2-40B4-BE49-F238E27FC236}">
                <a16:creationId xmlns:a16="http://schemas.microsoft.com/office/drawing/2014/main" id="{91DE43FD-EB47-414A-B0AB-169B0FFFA5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272922" cy="6858000"/>
          </a:xfrm>
          <a:custGeom>
            <a:avLst/>
            <a:gdLst>
              <a:gd name="connsiteX0" fmla="*/ 0 w 9272922"/>
              <a:gd name="connsiteY0" fmla="*/ 0 h 6858000"/>
              <a:gd name="connsiteX1" fmla="*/ 1733417 w 9272922"/>
              <a:gd name="connsiteY1" fmla="*/ 0 h 6858000"/>
              <a:gd name="connsiteX2" fmla="*/ 3307976 w 9272922"/>
              <a:gd name="connsiteY2" fmla="*/ 0 h 6858000"/>
              <a:gd name="connsiteX3" fmla="*/ 8126249 w 9272922"/>
              <a:gd name="connsiteY3" fmla="*/ 0 h 6858000"/>
              <a:gd name="connsiteX4" fmla="*/ 8138896 w 9272922"/>
              <a:gd name="connsiteY4" fmla="*/ 31774 h 6858000"/>
              <a:gd name="connsiteX5" fmla="*/ 9193904 w 9272922"/>
              <a:gd name="connsiteY5" fmla="*/ 2682457 h 6858000"/>
              <a:gd name="connsiteX6" fmla="*/ 9193904 w 9272922"/>
              <a:gd name="connsiteY6" fmla="*/ 3752208 h 6858000"/>
              <a:gd name="connsiteX7" fmla="*/ 8036400 w 9272922"/>
              <a:gd name="connsiteY7" fmla="*/ 6660411 h 6858000"/>
              <a:gd name="connsiteX8" fmla="*/ 7957938 w 9272922"/>
              <a:gd name="connsiteY8" fmla="*/ 6857542 h 6858000"/>
              <a:gd name="connsiteX9" fmla="*/ 3307976 w 9272922"/>
              <a:gd name="connsiteY9" fmla="*/ 6857542 h 6858000"/>
              <a:gd name="connsiteX10" fmla="*/ 3307976 w 9272922"/>
              <a:gd name="connsiteY10" fmla="*/ 6858000 h 6858000"/>
              <a:gd name="connsiteX11" fmla="*/ 0 w 9272922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272922" h="6858000">
                <a:moveTo>
                  <a:pt x="0" y="0"/>
                </a:moveTo>
                <a:lnTo>
                  <a:pt x="1733417" y="0"/>
                </a:lnTo>
                <a:lnTo>
                  <a:pt x="3307976" y="0"/>
                </a:lnTo>
                <a:lnTo>
                  <a:pt x="8126249" y="0"/>
                </a:lnTo>
                <a:lnTo>
                  <a:pt x="8138896" y="31774"/>
                </a:lnTo>
                <a:cubicBezTo>
                  <a:pt x="9193904" y="2682457"/>
                  <a:pt x="9193904" y="2682457"/>
                  <a:pt x="9193904" y="2682457"/>
                </a:cubicBezTo>
                <a:cubicBezTo>
                  <a:pt x="9299262" y="2988100"/>
                  <a:pt x="9299262" y="3446565"/>
                  <a:pt x="9193904" y="3752208"/>
                </a:cubicBezTo>
                <a:cubicBezTo>
                  <a:pt x="8709916" y="4968215"/>
                  <a:pt x="8331802" y="5918220"/>
                  <a:pt x="8036400" y="6660411"/>
                </a:cubicBezTo>
                <a:lnTo>
                  <a:pt x="7957938" y="6857542"/>
                </a:lnTo>
                <a:lnTo>
                  <a:pt x="3307976" y="6857542"/>
                </a:lnTo>
                <a:lnTo>
                  <a:pt x="3307976" y="6858000"/>
                </a:lnTo>
                <a:lnTo>
                  <a:pt x="0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" name="Immagine 1" descr="Immagine che contiene testo, poster, Carattere, design&#10;&#10;Descrizione generata automaticamente">
            <a:extLst>
              <a:ext uri="{FF2B5EF4-FFF2-40B4-BE49-F238E27FC236}">
                <a16:creationId xmlns:a16="http://schemas.microsoft.com/office/drawing/2014/main" id="{060A7625-5095-918B-B11C-ACABEAADF5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5609" y="643466"/>
            <a:ext cx="4383638" cy="5566833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58495BCC-CE77-4CC2-952E-846F41119F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160561" y="1075188"/>
            <a:ext cx="1562267" cy="1172973"/>
            <a:chOff x="9160561" y="1075188"/>
            <a:chExt cx="1562267" cy="1172973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1B42538B-E30F-4967-A6C1-8EBA775F4D6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9160561" y="1423846"/>
              <a:ext cx="935037" cy="8243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9A6BD9AC-4DE7-4B20-8547-4E3B375C21F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9960661" y="1075188"/>
              <a:ext cx="762167" cy="671915"/>
            </a:xfrm>
            <a:custGeom>
              <a:avLst/>
              <a:gdLst>
                <a:gd name="T0" fmla="*/ 225 w 785"/>
                <a:gd name="T1" fmla="*/ 692 h 692"/>
                <a:gd name="T2" fmla="*/ 177 w 785"/>
                <a:gd name="T3" fmla="*/ 665 h 692"/>
                <a:gd name="T4" fmla="*/ 9 w 785"/>
                <a:gd name="T5" fmla="*/ 374 h 692"/>
                <a:gd name="T6" fmla="*/ 9 w 785"/>
                <a:gd name="T7" fmla="*/ 318 h 692"/>
                <a:gd name="T8" fmla="*/ 177 w 785"/>
                <a:gd name="T9" fmla="*/ 27 h 692"/>
                <a:gd name="T10" fmla="*/ 225 w 785"/>
                <a:gd name="T11" fmla="*/ 0 h 692"/>
                <a:gd name="T12" fmla="*/ 561 w 785"/>
                <a:gd name="T13" fmla="*/ 0 h 692"/>
                <a:gd name="T14" fmla="*/ 609 w 785"/>
                <a:gd name="T15" fmla="*/ 27 h 692"/>
                <a:gd name="T16" fmla="*/ 777 w 785"/>
                <a:gd name="T17" fmla="*/ 318 h 692"/>
                <a:gd name="T18" fmla="*/ 777 w 785"/>
                <a:gd name="T19" fmla="*/ 374 h 692"/>
                <a:gd name="T20" fmla="*/ 609 w 785"/>
                <a:gd name="T21" fmla="*/ 665 h 692"/>
                <a:gd name="T22" fmla="*/ 561 w 785"/>
                <a:gd name="T23" fmla="*/ 692 h 692"/>
                <a:gd name="T24" fmla="*/ 225 w 785"/>
                <a:gd name="T25" fmla="*/ 692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5" h="692">
                  <a:moveTo>
                    <a:pt x="225" y="692"/>
                  </a:moveTo>
                  <a:cubicBezTo>
                    <a:pt x="207" y="692"/>
                    <a:pt x="185" y="680"/>
                    <a:pt x="177" y="665"/>
                  </a:cubicBezTo>
                  <a:cubicBezTo>
                    <a:pt x="9" y="374"/>
                    <a:pt x="9" y="374"/>
                    <a:pt x="9" y="374"/>
                  </a:cubicBezTo>
                  <a:cubicBezTo>
                    <a:pt x="0" y="358"/>
                    <a:pt x="0" y="334"/>
                    <a:pt x="9" y="318"/>
                  </a:cubicBezTo>
                  <a:cubicBezTo>
                    <a:pt x="177" y="27"/>
                    <a:pt x="177" y="27"/>
                    <a:pt x="177" y="27"/>
                  </a:cubicBezTo>
                  <a:cubicBezTo>
                    <a:pt x="185" y="12"/>
                    <a:pt x="207" y="0"/>
                    <a:pt x="225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78" y="0"/>
                    <a:pt x="600" y="12"/>
                    <a:pt x="609" y="27"/>
                  </a:cubicBezTo>
                  <a:cubicBezTo>
                    <a:pt x="777" y="318"/>
                    <a:pt x="777" y="318"/>
                    <a:pt x="777" y="318"/>
                  </a:cubicBezTo>
                  <a:cubicBezTo>
                    <a:pt x="785" y="334"/>
                    <a:pt x="785" y="358"/>
                    <a:pt x="777" y="374"/>
                  </a:cubicBezTo>
                  <a:cubicBezTo>
                    <a:pt x="609" y="665"/>
                    <a:pt x="609" y="665"/>
                    <a:pt x="609" y="665"/>
                  </a:cubicBezTo>
                  <a:cubicBezTo>
                    <a:pt x="600" y="680"/>
                    <a:pt x="578" y="692"/>
                    <a:pt x="561" y="692"/>
                  </a:cubicBezTo>
                  <a:lnTo>
                    <a:pt x="225" y="692"/>
                  </a:lnTo>
                  <a:close/>
                </a:path>
              </a:pathLst>
            </a:custGeom>
            <a:noFill/>
            <a:ln w="28575" cmpd="sng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600752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070294C6-A499-FB1C-E03E-0C84CB4A14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511"/>
            <a:ext cx="12192000" cy="6828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0362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5C4E56A0-172A-7116-8C1C-51F7F9803A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32525" y="0"/>
            <a:ext cx="532694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314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FC245D06-A30E-99D6-5F78-3B178A1AEC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6101" y="0"/>
            <a:ext cx="575979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3355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488D4235-EE69-5120-3A15-8C907F05ED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112" y="12501"/>
            <a:ext cx="4918446" cy="212254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32D7E165-2730-88C4-053F-9BCE89B0B4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780" y="3630098"/>
            <a:ext cx="4227383" cy="3249649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5765A59A-64AF-267A-2F8E-58E186C036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054" y="269096"/>
            <a:ext cx="4221726" cy="3360397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69C550EC-6D01-161C-3470-9E1CE6555B7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7112" y="3399171"/>
            <a:ext cx="4918446" cy="253093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63F03CA0-D075-FC41-DBEA-F16E4A707DD3}"/>
              </a:ext>
            </a:extLst>
          </p:cNvPr>
          <p:cNvPicPr/>
          <p:nvPr/>
        </p:nvPicPr>
        <p:blipFill>
          <a:blip r:embed="rId6"/>
          <a:stretch/>
        </p:blipFill>
        <p:spPr>
          <a:xfrm>
            <a:off x="5478175" y="60305"/>
            <a:ext cx="6639761" cy="6318508"/>
          </a:xfrm>
          <a:prstGeom prst="rect">
            <a:avLst/>
          </a:prstGeom>
          <a:ln>
            <a:noFill/>
          </a:ln>
        </p:spPr>
      </p:pic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E9D0F601-4620-DAE5-E982-D4BAD506B1A3}"/>
              </a:ext>
            </a:extLst>
          </p:cNvPr>
          <p:cNvSpPr txBox="1"/>
          <p:nvPr/>
        </p:nvSpPr>
        <p:spPr>
          <a:xfrm>
            <a:off x="3482784" y="6616110"/>
            <a:ext cx="5029148" cy="2456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98" dirty="0">
                <a:latin typeface="ff-scala-sans-pro"/>
              </a:rPr>
              <a:t>Frias JP et al N </a:t>
            </a:r>
            <a:r>
              <a:rPr lang="en-US" sz="998" dirty="0" err="1">
                <a:latin typeface="ff-scala-sans-pro"/>
              </a:rPr>
              <a:t>Engl</a:t>
            </a:r>
            <a:r>
              <a:rPr lang="en-US" sz="998" dirty="0">
                <a:latin typeface="ff-scala-sans-pro"/>
              </a:rPr>
              <a:t> J Med 2021; 385:503-515</a:t>
            </a:r>
            <a:endParaRPr lang="en-US" sz="998" dirty="0"/>
          </a:p>
        </p:txBody>
      </p:sp>
      <p:sp>
        <p:nvSpPr>
          <p:cNvPr id="12" name="TextShape 1">
            <a:extLst>
              <a:ext uri="{FF2B5EF4-FFF2-40B4-BE49-F238E27FC236}">
                <a16:creationId xmlns:a16="http://schemas.microsoft.com/office/drawing/2014/main" id="{292D4E1A-B2E0-D4EA-77A8-F22AB7DE4D43}"/>
              </a:ext>
            </a:extLst>
          </p:cNvPr>
          <p:cNvSpPr txBox="1"/>
          <p:nvPr/>
        </p:nvSpPr>
        <p:spPr>
          <a:xfrm>
            <a:off x="7996936" y="6378813"/>
            <a:ext cx="7020000" cy="5364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/>
          <a:p>
            <a:pPr>
              <a:lnSpc>
                <a:spcPct val="97000"/>
              </a:lnSpc>
            </a:pPr>
            <a:r>
              <a:rPr lang="en-US" sz="900" strike="noStrike" spc="-1" dirty="0">
                <a:latin typeface="Arial"/>
                <a:ea typeface="Arial Unicode MS"/>
              </a:rPr>
              <a:t>AM </a:t>
            </a:r>
            <a:r>
              <a:rPr lang="en-US" sz="900" strike="noStrike" spc="-1" dirty="0" err="1">
                <a:latin typeface="Arial"/>
                <a:ea typeface="Arial Unicode MS"/>
              </a:rPr>
              <a:t>Jastreboff</a:t>
            </a:r>
            <a:r>
              <a:rPr lang="en-US" sz="900" strike="noStrike" spc="-1" dirty="0">
                <a:latin typeface="Arial"/>
                <a:ea typeface="Arial Unicode MS"/>
              </a:rPr>
              <a:t> et al.  397, P293-304, JANUARY 23, 2021 N </a:t>
            </a:r>
            <a:r>
              <a:rPr lang="en-US" sz="900" strike="noStrike" spc="-1" dirty="0" err="1">
                <a:latin typeface="Arial"/>
                <a:ea typeface="Arial Unicode MS"/>
              </a:rPr>
              <a:t>Engl</a:t>
            </a:r>
            <a:r>
              <a:rPr lang="en-US" sz="900" strike="noStrike" spc="-1" dirty="0">
                <a:latin typeface="Arial"/>
                <a:ea typeface="Arial Unicode MS"/>
              </a:rPr>
              <a:t> J Med 2022.</a:t>
            </a:r>
            <a:endParaRPr lang="en-US" sz="900" strike="noStrike" spc="-1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626928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oh97MgnSTLC0cZHfkVw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XYwHzeG06JRgkDgyKlM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Novo Nordisk 16:9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Novo Nordisk 2020">
      <a:majorFont>
        <a:latin typeface="Apis For Office"/>
        <a:ea typeface=""/>
        <a:cs typeface=""/>
      </a:majorFont>
      <a:minorFont>
        <a:latin typeface="Apis For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20000"/>
          </a:lnSpc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Blank.potx" id="{19F1F4CC-E50E-4E34-8EB9-E9E372C62EB9}" vid="{18D152BD-36C0-43FC-891C-4E416CFD5944}"/>
    </a:ext>
  </a:extLst>
</a:theme>
</file>

<file path=ppt/theme/theme3.xml><?xml version="1.0" encoding="utf-8"?>
<a:theme xmlns:a="http://schemas.openxmlformats.org/drawingml/2006/main" name="2020 NN Sema Obesity CSD">
  <a:themeElements>
    <a:clrScheme name="NN 2020 Rebrand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Apis">
      <a:majorFont>
        <a:latin typeface="Apis"/>
        <a:ea typeface=""/>
        <a:cs typeface=""/>
      </a:majorFont>
      <a:minorFont>
        <a:latin typeface="Api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20000"/>
          </a:lnSpc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Accent 1">
      <a:srgbClr val="001965"/>
    </a:custClr>
    <a:custClr name="Accent 2">
      <a:srgbClr val="005AD2"/>
    </a:custClr>
    <a:custClr name="Accent 3">
      <a:srgbClr val="3B97DE"/>
    </a:custClr>
    <a:custClr name="Accent 4">
      <a:srgbClr val="EEA7BF"/>
    </a:custClr>
    <a:custClr name="Accent 5">
      <a:srgbClr val="2A918B"/>
    </a:custClr>
    <a:custClr name="Accent 6">
      <a:srgbClr val="939AA7"/>
    </a:custClr>
    <a:custClr name="Light 2">
      <a:srgbClr val="CCC5BD"/>
    </a:custClr>
    <a:custClr name="Dark 1">
      <a:srgbClr val="000000"/>
    </a:custClr>
    <a:custClr>
      <a:srgbClr val="FFFFFF"/>
    </a:custClr>
    <a:custClr name="Color has no name">
      <a:srgbClr val="FFFFFF"/>
    </a:custClr>
    <a:custClr name="Color has no name">
      <a:srgbClr val="FFFFFF"/>
    </a:custClr>
    <a:custClr name="Accent 2">
      <a:srgbClr val="99BDED"/>
    </a:custClr>
    <a:custClr name="Accent 3">
      <a:srgbClr val="B1D5F2"/>
    </a:custClr>
    <a:custClr name="Accent 4">
      <a:srgbClr val="F8DCE5"/>
    </a:custClr>
    <a:custClr name="Accent 5">
      <a:srgbClr val="AAD3D1"/>
    </a:custClr>
    <a:custClr name="Accent 6">
      <a:srgbClr val="D4D7DC"/>
    </a:custClr>
    <a:custClr name="Light 2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Accent 2">
      <a:srgbClr val="CCDEF6"/>
    </a:custClr>
    <a:custClr name="Accent 3">
      <a:srgbClr val="D8EAF8"/>
    </a:custClr>
    <a:custClr name="Accent 4">
      <a:srgbClr val="FCEDF2"/>
    </a:custClr>
    <a:custClr name="Accent 5">
      <a:srgbClr val="D4E9E8"/>
    </a:custClr>
    <a:custClr name="Accent 6">
      <a:srgbClr val="E9EBED"/>
    </a:custClr>
    <a:custClr name="Light 2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Blank.potx" id="{909C29A5-E88E-48A9-8FEA-98397920CF68}" vid="{8A5C03E6-BC19-4ABC-A5C6-B7977B8DD495}"/>
    </a:ext>
  </a:extLst>
</a:theme>
</file>

<file path=ppt/theme/theme4.xml><?xml version="1.0" encoding="utf-8"?>
<a:theme xmlns:a="http://schemas.openxmlformats.org/drawingml/2006/main" name="8_Novo Nordisk 16:9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Novo Nordisk 2020">
      <a:majorFont>
        <a:latin typeface="Apis For Office"/>
        <a:ea typeface=""/>
        <a:cs typeface=""/>
      </a:majorFont>
      <a:minorFont>
        <a:latin typeface="Apis For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20000"/>
          </a:lnSpc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Blank.potx" id="{19F1F4CC-E50E-4E34-8EB9-E9E372C62EB9}" vid="{18D152BD-36C0-43FC-891C-4E416CFD5944}"/>
    </a:ext>
  </a:extLst>
</a:theme>
</file>

<file path=ppt/theme/theme5.xml><?xml version="1.0" encoding="utf-8"?>
<a:theme xmlns:a="http://schemas.openxmlformats.org/drawingml/2006/main" name="Novo Nordisk 16:9">
  <a:themeElements>
    <a:clrScheme name="NovoNordisk 2020">
      <a:dk1>
        <a:srgbClr val="000000"/>
      </a:dk1>
      <a:lt1>
        <a:srgbClr val="FFFFFF"/>
      </a:lt1>
      <a:dk2>
        <a:srgbClr val="001965"/>
      </a:dk2>
      <a:lt2>
        <a:srgbClr val="CCC5BD"/>
      </a:lt2>
      <a:accent1>
        <a:srgbClr val="001965"/>
      </a:accent1>
      <a:accent2>
        <a:srgbClr val="005AD2"/>
      </a:accent2>
      <a:accent3>
        <a:srgbClr val="2A918B"/>
      </a:accent3>
      <a:accent4>
        <a:srgbClr val="EEA7BF"/>
      </a:accent4>
      <a:accent5>
        <a:srgbClr val="3B97DE"/>
      </a:accent5>
      <a:accent6>
        <a:srgbClr val="939AA7"/>
      </a:accent6>
      <a:hlink>
        <a:srgbClr val="005AD2"/>
      </a:hlink>
      <a:folHlink>
        <a:srgbClr val="3B97DE"/>
      </a:folHlink>
    </a:clrScheme>
    <a:fontScheme name="Apis Novo Nordisk">
      <a:majorFont>
        <a:latin typeface="Apis For Office"/>
        <a:ea typeface=""/>
        <a:cs typeface=""/>
      </a:majorFont>
      <a:minorFont>
        <a:latin typeface="Apis For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20000"/>
          </a:lnSpc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True Blue">
      <a:srgbClr val="001965"/>
    </a:custClr>
    <a:custClr name="Light Blue">
      <a:srgbClr val="3B97DE"/>
    </a:custClr>
    <a:custClr name="Sea Blue">
      <a:srgbClr val="005AD2"/>
    </a:custClr>
    <a:custClr name="Rose Pink">
      <a:srgbClr val="EEA7BF"/>
    </a:custClr>
    <a:custClr name="Ocean Green">
      <a:srgbClr val="2A918B"/>
    </a:custClr>
    <a:custClr name="Concrete Grey">
      <a:srgbClr val="939AA7"/>
    </a:custClr>
    <a:custClr name="Sand Grey">
      <a:srgbClr val="CCC5B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40%">
      <a:srgbClr val="B1D5F2"/>
    </a:custClr>
    <a:custClr name="Sea Blue 40%">
      <a:srgbClr val="99BDED"/>
    </a:custClr>
    <a:custClr name="Rose Pink 40%">
      <a:srgbClr val="F8DCE5"/>
    </a:custClr>
    <a:custClr name="Ocean Green 40%">
      <a:srgbClr val="AAD3D1"/>
    </a:custClr>
    <a:custClr name="Concrete Grey 40%">
      <a:srgbClr val="D4D7DC"/>
    </a:custClr>
    <a:custClr name="Sand Grey 40%">
      <a:srgbClr val="EBE8E5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Blue 20%">
      <a:srgbClr val="D8EAF8"/>
    </a:custClr>
    <a:custClr name="Sea Blue 20%">
      <a:srgbClr val="CCDEF6"/>
    </a:custClr>
    <a:custClr name="Rose Pink 20%">
      <a:srgbClr val="FCEDF2"/>
    </a:custClr>
    <a:custClr name="Ocean Green 20%">
      <a:srgbClr val="D4E9E8"/>
    </a:custClr>
    <a:custClr name="Concrete Grey 20%">
      <a:srgbClr val="E9EBED"/>
    </a:custClr>
    <a:custClr name="Sand Grey 20%">
      <a:srgbClr val="F5F3F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Golden Sun">
      <a:srgbClr val="EAAB00"/>
    </a:custClr>
    <a:custClr name="Lava Red">
      <a:srgbClr val="E6553F"/>
    </a:custClr>
    <a:custClr name="Forest Green">
      <a:srgbClr val="3F9C35"/>
    </a:custClr>
  </a:custClrLst>
  <a:extLst>
    <a:ext uri="{05A4C25C-085E-4340-85A3-A5531E510DB2}">
      <thm15:themeFamily xmlns:thm15="http://schemas.microsoft.com/office/thememl/2012/main" name="Blank.potx" id="{E74F5A70-44BF-4AEF-9F91-978B11132E07}" vid="{565FA72A-7CC8-47B7-A269-0957194D19A6}"/>
    </a:ext>
  </a:extLst>
</a:theme>
</file>

<file path=ppt/theme/theme6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104</TotalTime>
  <Words>1019</Words>
  <Application>Microsoft Office PowerPoint</Application>
  <PresentationFormat>Widescreen</PresentationFormat>
  <Paragraphs>113</Paragraphs>
  <Slides>26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5</vt:i4>
      </vt:variant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6</vt:i4>
      </vt:variant>
    </vt:vector>
  </HeadingPairs>
  <TitlesOfParts>
    <vt:vector size="47" baseType="lpstr">
      <vt:lpstr>Apis For Office</vt:lpstr>
      <vt:lpstr>Apis For Office Light</vt:lpstr>
      <vt:lpstr>Arial</vt:lpstr>
      <vt:lpstr>BlinkMacSystemFont</vt:lpstr>
      <vt:lpstr>Calibri</vt:lpstr>
      <vt:lpstr>Calibri Light</vt:lpstr>
      <vt:lpstr>Cambria</vt:lpstr>
      <vt:lpstr>ElsevierGulliver</vt:lpstr>
      <vt:lpstr>ff-scala-sans-pro</vt:lpstr>
      <vt:lpstr>Google Sans</vt:lpstr>
      <vt:lpstr>interfaceregular</vt:lpstr>
      <vt:lpstr>Merriweather</vt:lpstr>
      <vt:lpstr>OTNEJMQuadraat</vt:lpstr>
      <vt:lpstr>OTNEJMScalaSansLF</vt:lpstr>
      <vt:lpstr>Verdana</vt:lpstr>
      <vt:lpstr>Tema di Office</vt:lpstr>
      <vt:lpstr>2_Novo Nordisk 16:9</vt:lpstr>
      <vt:lpstr>2020 NN Sema Obesity CSD</vt:lpstr>
      <vt:lpstr>8_Novo Nordisk 16:9</vt:lpstr>
      <vt:lpstr>Novo Nordisk 16:9</vt:lpstr>
      <vt:lpstr>think-cell Slide</vt:lpstr>
      <vt:lpstr>Farmaci anti-obesità: molecole a confronto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ere is an unmet need for therapies that reduce  CV events and support weight manageme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Grazie</vt:lpstr>
    </vt:vector>
  </TitlesOfParts>
  <Company>Novo Nordis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raglutide in bariatric surgery preparation</dc:title>
  <dc:creator>OZDE (Dario Dezi)</dc:creator>
  <cp:lastModifiedBy>Mingrone Geltrude</cp:lastModifiedBy>
  <cp:revision>53</cp:revision>
  <dcterms:created xsi:type="dcterms:W3CDTF">2023-11-03T07:52:40Z</dcterms:created>
  <dcterms:modified xsi:type="dcterms:W3CDTF">2025-01-29T15:52:26Z</dcterms:modified>
</cp:coreProperties>
</file>